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147483637" r:id="rId5"/>
    <p:sldId id="2147483641" r:id="rId6"/>
    <p:sldId id="2147483639" r:id="rId7"/>
    <p:sldId id="257" r:id="rId8"/>
    <p:sldId id="2147483640" r:id="rId9"/>
    <p:sldId id="2147483636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A7871F-EF79-E351-671A-7ED60DBF0856}" name="Peter, Tatjana" initials="PT" userId="S::peterta4@novartis.net::498cdb32-93ae-473f-a913-3db738834ba6" providerId="AD"/>
  <p188:author id="{B0127184-0F00-C23E-79F0-543ED6C869A7}" name="Tagari, Eleni" initials="ET" userId="S::TAGAREL1@novartis.net::698b4a75-4965-49df-b4c2-d2566eb8ce59" providerId="AD"/>
  <p188:author id="{3CF45D8C-7687-7AB1-FAF3-FB1105885397}" name="Feldmann, Melanie" initials="FM" userId="S::zehacme1@novartis.net::54421fe6-56b6-4786-befb-04cd5f47f1e2" providerId="AD"/>
  <p188:author id="{69D80695-D809-CF8A-AF2B-51EBB2EDEA48}" name="Viktoria Antonow" initials="VA" userId="S::vantonow@kwmedipoint.de::c0c716d9-e399-40a8-95b8-0c6fcc6f3858" providerId="AD"/>
  <p188:author id="{9C49F5BF-6A0D-1646-E8E8-970C9387729C}" name="Barbara Knapp" initials="BK" userId="S::bknapp@kwmedipoint.de::4f0281da-259f-4bb5-b86a-8d73f35d4d6d" providerId="AD"/>
  <p188:author id="{710D53CA-70D4-3CE1-9158-E44BEF2D826C}" name="Peter, Tatjana" initials="" userId="S::PETERTA4@novartis.net::498cdb32-93ae-473f-a913-3db738834ba6" providerId="AD"/>
  <p188:author id="{1611A7F6-52DA-55C1-3072-E4B0572853E1}" name="Christian Adler" initials="CA" userId="S::cadler@kwmedipoint.de::cee0bd82-541c-49f9-a0c3-e539f9fd496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60A9"/>
    <a:srgbClr val="002068"/>
    <a:srgbClr val="FFC100"/>
    <a:srgbClr val="F2F2F2"/>
    <a:srgbClr val="D0D0D0"/>
    <a:srgbClr val="A7A8AA"/>
    <a:srgbClr val="50E2D0"/>
    <a:srgbClr val="8F2DD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956" autoAdjust="0"/>
    <p:restoredTop sz="96247" autoAdjust="0"/>
  </p:normalViewPr>
  <p:slideViewPr>
    <p:cSldViewPr snapToGrid="0">
      <p:cViewPr varScale="1">
        <p:scale>
          <a:sx n="98" d="100"/>
          <a:sy n="98" d="100"/>
        </p:scale>
        <p:origin x="786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gari, Eleni" userId="698b4a75-4965-49df-b4c2-d2566eb8ce59" providerId="ADAL" clId="{3A219AD8-FA88-4B16-9634-D256D537B895}"/>
    <pc:docChg chg="custSel modSld">
      <pc:chgData name="Tagari, Eleni" userId="698b4a75-4965-49df-b4c2-d2566eb8ce59" providerId="ADAL" clId="{3A219AD8-FA88-4B16-9634-D256D537B895}" dt="2025-09-05T08:57:47.808" v="111"/>
      <pc:docMkLst>
        <pc:docMk/>
      </pc:docMkLst>
      <pc:sldChg chg="addSp delSp modSp mod">
        <pc:chgData name="Tagari, Eleni" userId="698b4a75-4965-49df-b4c2-d2566eb8ce59" providerId="ADAL" clId="{3A219AD8-FA88-4B16-9634-D256D537B895}" dt="2025-09-05T08:57:47.808" v="111"/>
        <pc:sldMkLst>
          <pc:docMk/>
          <pc:sldMk cId="1316227290" sldId="2147483640"/>
        </pc:sldMkLst>
        <pc:spChg chg="mod ord">
          <ac:chgData name="Tagari, Eleni" userId="698b4a75-4965-49df-b4c2-d2566eb8ce59" providerId="ADAL" clId="{3A219AD8-FA88-4B16-9634-D256D537B895}" dt="2025-09-05T08:57:47.804" v="89"/>
          <ac:spMkLst>
            <pc:docMk/>
            <pc:sldMk cId="1316227290" sldId="2147483640"/>
            <ac:spMk id="2" creationId="{531D3423-6872-A296-5E69-8B7162019DEC}"/>
          </ac:spMkLst>
        </pc:spChg>
        <pc:spChg chg="mod ord">
          <ac:chgData name="Tagari, Eleni" userId="698b4a75-4965-49df-b4c2-d2566eb8ce59" providerId="ADAL" clId="{3A219AD8-FA88-4B16-9634-D256D537B895}" dt="2025-09-05T08:57:47.804" v="91"/>
          <ac:spMkLst>
            <pc:docMk/>
            <pc:sldMk cId="1316227290" sldId="2147483640"/>
            <ac:spMk id="3" creationId="{EC066DBD-A5B6-0486-BB65-1D6D66ACFB9B}"/>
          </ac:spMkLst>
        </pc:spChg>
        <pc:spChg chg="mod ord">
          <ac:chgData name="Tagari, Eleni" userId="698b4a75-4965-49df-b4c2-d2566eb8ce59" providerId="ADAL" clId="{3A219AD8-FA88-4B16-9634-D256D537B895}" dt="2025-09-05T08:57:47.804" v="93"/>
          <ac:spMkLst>
            <pc:docMk/>
            <pc:sldMk cId="1316227290" sldId="2147483640"/>
            <ac:spMk id="4" creationId="{EAD3A90B-7D00-62C2-FD95-4BD9703429BA}"/>
          </ac:spMkLst>
        </pc:spChg>
        <pc:spChg chg="mod ord">
          <ac:chgData name="Tagari, Eleni" userId="698b4a75-4965-49df-b4c2-d2566eb8ce59" providerId="ADAL" clId="{3A219AD8-FA88-4B16-9634-D256D537B895}" dt="2025-09-05T08:57:47.805" v="97"/>
          <ac:spMkLst>
            <pc:docMk/>
            <pc:sldMk cId="1316227290" sldId="2147483640"/>
            <ac:spMk id="5" creationId="{1373192E-5E05-DEBD-FAF5-42AE0987D687}"/>
          </ac:spMkLst>
        </pc:spChg>
        <pc:spChg chg="mod ord">
          <ac:chgData name="Tagari, Eleni" userId="698b4a75-4965-49df-b4c2-d2566eb8ce59" providerId="ADAL" clId="{3A219AD8-FA88-4B16-9634-D256D537B895}" dt="2025-09-05T08:57:47.804" v="95"/>
          <ac:spMkLst>
            <pc:docMk/>
            <pc:sldMk cId="1316227290" sldId="2147483640"/>
            <ac:spMk id="8" creationId="{8F804322-DA56-CE1E-9702-CFD56EC425C6}"/>
          </ac:spMkLst>
        </pc:spChg>
        <pc:spChg chg="del">
          <ac:chgData name="Tagari, Eleni" userId="698b4a75-4965-49df-b4c2-d2566eb8ce59" providerId="ADAL" clId="{3A219AD8-FA88-4B16-9634-D256D537B895}" dt="2025-09-05T08:52:49.539" v="0" actId="478"/>
          <ac:spMkLst>
            <pc:docMk/>
            <pc:sldMk cId="1316227290" sldId="2147483640"/>
            <ac:spMk id="9" creationId="{583D18B9-321B-0F7D-F3D4-D39A29A39AA5}"/>
          </ac:spMkLst>
        </pc:spChg>
        <pc:spChg chg="mod ord">
          <ac:chgData name="Tagari, Eleni" userId="698b4a75-4965-49df-b4c2-d2566eb8ce59" providerId="ADAL" clId="{3A219AD8-FA88-4B16-9634-D256D537B895}" dt="2025-09-05T08:57:47.806" v="101"/>
          <ac:spMkLst>
            <pc:docMk/>
            <pc:sldMk cId="1316227290" sldId="2147483640"/>
            <ac:spMk id="11" creationId="{67683A89-59C4-312B-ADDD-A5FADFBED43D}"/>
          </ac:spMkLst>
        </pc:spChg>
        <pc:spChg chg="mod ord">
          <ac:chgData name="Tagari, Eleni" userId="698b4a75-4965-49df-b4c2-d2566eb8ce59" providerId="ADAL" clId="{3A219AD8-FA88-4B16-9634-D256D537B895}" dt="2025-09-05T08:57:47.806" v="109"/>
          <ac:spMkLst>
            <pc:docMk/>
            <pc:sldMk cId="1316227290" sldId="2147483640"/>
            <ac:spMk id="12" creationId="{3BC1E5F6-9749-2D7D-05C1-F71ED3965CF0}"/>
          </ac:spMkLst>
        </pc:spChg>
        <pc:spChg chg="mod ord">
          <ac:chgData name="Tagari, Eleni" userId="698b4a75-4965-49df-b4c2-d2566eb8ce59" providerId="ADAL" clId="{3A219AD8-FA88-4B16-9634-D256D537B895}" dt="2025-09-05T08:57:47.806" v="103"/>
          <ac:spMkLst>
            <pc:docMk/>
            <pc:sldMk cId="1316227290" sldId="2147483640"/>
            <ac:spMk id="14" creationId="{C666A612-9811-C6C6-97EE-C32620A5B118}"/>
          </ac:spMkLst>
        </pc:spChg>
        <pc:spChg chg="del mod ord">
          <ac:chgData name="Tagari, Eleni" userId="698b4a75-4965-49df-b4c2-d2566eb8ce59" providerId="ADAL" clId="{3A219AD8-FA88-4B16-9634-D256D537B895}" dt="2025-09-05T08:57:30.834" v="83" actId="478"/>
          <ac:spMkLst>
            <pc:docMk/>
            <pc:sldMk cId="1316227290" sldId="2147483640"/>
            <ac:spMk id="15" creationId="{352C0971-89A2-66A1-6BCE-B03C8265E244}"/>
          </ac:spMkLst>
        </pc:spChg>
        <pc:spChg chg="mod ord">
          <ac:chgData name="Tagari, Eleni" userId="698b4a75-4965-49df-b4c2-d2566eb8ce59" providerId="ADAL" clId="{3A219AD8-FA88-4B16-9634-D256D537B895}" dt="2025-09-05T08:57:47.806" v="105"/>
          <ac:spMkLst>
            <pc:docMk/>
            <pc:sldMk cId="1316227290" sldId="2147483640"/>
            <ac:spMk id="16" creationId="{2CCBA10A-64C3-312A-AB54-420CFA3DF321}"/>
          </ac:spMkLst>
        </pc:spChg>
        <pc:spChg chg="mod ord">
          <ac:chgData name="Tagari, Eleni" userId="698b4a75-4965-49df-b4c2-d2566eb8ce59" providerId="ADAL" clId="{3A219AD8-FA88-4B16-9634-D256D537B895}" dt="2025-09-05T08:57:47.806" v="107"/>
          <ac:spMkLst>
            <pc:docMk/>
            <pc:sldMk cId="1316227290" sldId="2147483640"/>
            <ac:spMk id="17" creationId="{DF5C8002-4F86-5626-2087-46D76C40C984}"/>
          </ac:spMkLst>
        </pc:spChg>
        <pc:spChg chg="add del mod modVis">
          <ac:chgData name="Tagari, Eleni" userId="698b4a75-4965-49df-b4c2-d2566eb8ce59" providerId="ADAL" clId="{3A219AD8-FA88-4B16-9634-D256D537B895}" dt="2025-09-05T08:57:25.555" v="80"/>
          <ac:spMkLst>
            <pc:docMk/>
            <pc:sldMk cId="1316227290" sldId="2147483640"/>
            <ac:spMk id="21" creationId="{958A486B-FF0B-6E87-B090-9D5B3408479C}"/>
          </ac:spMkLst>
        </pc:spChg>
        <pc:graphicFrameChg chg="mod">
          <ac:chgData name="Tagari, Eleni" userId="698b4a75-4965-49df-b4c2-d2566eb8ce59" providerId="ADAL" clId="{3A219AD8-FA88-4B16-9634-D256D537B895}" dt="2025-09-05T08:57:47.808" v="111"/>
          <ac:graphicFrameMkLst>
            <pc:docMk/>
            <pc:sldMk cId="1316227290" sldId="2147483640"/>
            <ac:graphicFrameMk id="6" creationId="{202EC42D-443B-B76A-6B49-9A8C78FDA26D}"/>
          </ac:graphicFrameMkLst>
        </pc:graphicFrameChg>
        <pc:graphicFrameChg chg="mod ord">
          <ac:chgData name="Tagari, Eleni" userId="698b4a75-4965-49df-b4c2-d2566eb8ce59" providerId="ADAL" clId="{3A219AD8-FA88-4B16-9634-D256D537B895}" dt="2025-09-05T08:57:47.793" v="85"/>
          <ac:graphicFrameMkLst>
            <pc:docMk/>
            <pc:sldMk cId="1316227290" sldId="2147483640"/>
            <ac:graphicFrameMk id="13" creationId="{9BEC2FF5-0598-D1D8-7CA9-C41DA189DCE2}"/>
          </ac:graphicFrameMkLst>
        </pc:graphicFrameChg>
        <pc:picChg chg="mod ord">
          <ac:chgData name="Tagari, Eleni" userId="698b4a75-4965-49df-b4c2-d2566eb8ce59" providerId="ADAL" clId="{3A219AD8-FA88-4B16-9634-D256D537B895}" dt="2025-09-05T08:57:47.805" v="99"/>
          <ac:picMkLst>
            <pc:docMk/>
            <pc:sldMk cId="1316227290" sldId="2147483640"/>
            <ac:picMk id="10" creationId="{47C761A8-A3FF-BB13-667D-B96F286CAEDC}"/>
          </ac:picMkLst>
        </pc:picChg>
        <pc:picChg chg="add del">
          <ac:chgData name="Tagari, Eleni" userId="698b4a75-4965-49df-b4c2-d2566eb8ce59" providerId="ADAL" clId="{3A219AD8-FA88-4B16-9634-D256D537B895}" dt="2025-09-05T08:54:09.667" v="2" actId="478"/>
          <ac:picMkLst>
            <pc:docMk/>
            <pc:sldMk cId="1316227290" sldId="2147483640"/>
            <ac:picMk id="18" creationId="{F61275F5-C79A-1DD9-F186-A4DC3B38EC15}"/>
          </ac:picMkLst>
        </pc:picChg>
        <pc:picChg chg="add mod ord">
          <ac:chgData name="Tagari, Eleni" userId="698b4a75-4965-49df-b4c2-d2566eb8ce59" providerId="ADAL" clId="{3A219AD8-FA88-4B16-9634-D256D537B895}" dt="2025-09-05T08:57:47.793" v="87"/>
          <ac:picMkLst>
            <pc:docMk/>
            <pc:sldMk cId="1316227290" sldId="2147483640"/>
            <ac:picMk id="20" creationId="{6B06599B-BF75-6F15-A336-548B2A68032E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33517353596281"/>
          <c:y val="4.3514284359834121E-2"/>
          <c:w val="0.84221398857039664"/>
          <c:h val="0.78404976662625725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B$2:$B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29-499B-A5B3-3E39324A5438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C$2:$C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329-499B-A5B3-3E39324A54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7358732520626134"/>
              <c:y val="0.92233549300976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RFS-Wahrscheinlichkeit (%)</a:t>
                </a:r>
              </a:p>
            </c:rich>
          </c:tx>
          <c:layout>
            <c:manualLayout>
              <c:xMode val="edge"/>
              <c:yMode val="edge"/>
              <c:x val="7.8543348661655361E-3"/>
              <c:y val="5.0850923539462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33517353596281"/>
          <c:y val="4.3514284359834121E-2"/>
          <c:w val="0.84221398857039664"/>
          <c:h val="0.78404976662625725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B$2:$B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80-4C02-96C1-450C2612708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C$2:$C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80-4C02-96C1-450C261270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7358732520626134"/>
              <c:y val="0.92233549300976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RFS-Wahrscheinlichkeit (%)</a:t>
                </a:r>
              </a:p>
            </c:rich>
          </c:tx>
          <c:layout>
            <c:manualLayout>
              <c:xMode val="edge"/>
              <c:yMode val="edge"/>
              <c:x val="2.3563004598496605E-2"/>
              <c:y val="6.925245289667163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33517353596281"/>
          <c:y val="4.3514284359834121E-2"/>
          <c:w val="0.84221398857039664"/>
          <c:h val="0.78404976662625725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PD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B$2:$B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E27-4171-BB42-EF65CB7C3AF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TT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1</c:f>
              <c:numCache>
                <c:formatCode>General</c:formatCode>
                <c:ptCount val="10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</c:numCache>
            </c:numRef>
          </c:cat>
          <c:val>
            <c:numRef>
              <c:f>Tabelle1!$C$2:$C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E27-4171-BB42-EF65CB7C3A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b="1" dirty="0">
                    <a:solidFill>
                      <a:schemeClr val="tx1"/>
                    </a:solidFill>
                  </a:rPr>
                  <a:t>Zeit (Monate)</a:t>
                </a:r>
              </a:p>
            </c:rich>
          </c:tx>
          <c:layout>
            <c:manualLayout>
              <c:xMode val="edge"/>
              <c:yMode val="edge"/>
              <c:x val="0.47358732520626134"/>
              <c:y val="0.92233549300976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0.25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4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5.000000000000001E-2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20026157408910589"/>
          <c:y val="0.1215311509209816"/>
          <c:w val="0.17728238776727545"/>
          <c:h val="0.172855718661401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05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05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FD28B2-E108-D690-07E4-4B941ACC7F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3E920A-05C9-A55F-D9E5-9B08E7E4A4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C10EAC-2228-78BD-87B8-57891637BE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9D7E6D-498D-547E-7292-8C17EC82B3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F80CA-0B62-4806-84EF-87D648B4ECD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0236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de-DE" i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F80CA-0B62-4806-84EF-87D648B4ECD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0915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13852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3518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1473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E93DD3-C444-68B7-65DF-E7D8F86310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55F44A9-EDE1-DABB-7BC7-89E8E21FFA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23435B0-2E41-8862-8A83-8783ED51E3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F1F523-ED50-1CE3-7562-BD4BB66295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F80CA-0B62-4806-84EF-87D648B4ECD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005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07C4262D-922A-2725-8808-A732A2277E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613" y="-1"/>
            <a:ext cx="5829388" cy="426091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F3EA86-16EB-319B-4E59-5E2806AF7B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96052" y="1140643"/>
            <a:ext cx="4795948" cy="5712595"/>
          </a:xfrm>
          <a:custGeom>
            <a:avLst/>
            <a:gdLst>
              <a:gd name="connsiteX0" fmla="*/ 1269090 w 3292262"/>
              <a:gd name="connsiteY0" fmla="*/ 142 h 3921510"/>
              <a:gd name="connsiteX1" fmla="*/ 1586011 w 3292262"/>
              <a:gd name="connsiteY1" fmla="*/ 45942 h 3921510"/>
              <a:gd name="connsiteX2" fmla="*/ 1602376 w 3292262"/>
              <a:gd name="connsiteY2" fmla="*/ 51394 h 3921510"/>
              <a:gd name="connsiteX3" fmla="*/ 1612194 w 3292262"/>
              <a:gd name="connsiteY3" fmla="*/ 53575 h 3921510"/>
              <a:gd name="connsiteX4" fmla="*/ 1968936 w 3292262"/>
              <a:gd name="connsiteY4" fmla="*/ 153900 h 3921510"/>
              <a:gd name="connsiteX5" fmla="*/ 3292262 w 3292262"/>
              <a:gd name="connsiteY5" fmla="*/ 523573 h 3921510"/>
              <a:gd name="connsiteX6" fmla="*/ 3292262 w 3292262"/>
              <a:gd name="connsiteY6" fmla="*/ 3921510 h 3921510"/>
              <a:gd name="connsiteX7" fmla="*/ 301960 w 3292262"/>
              <a:gd name="connsiteY7" fmla="*/ 3921510 h 3921510"/>
              <a:gd name="connsiteX8" fmla="*/ 661974 w 3292262"/>
              <a:gd name="connsiteY8" fmla="*/ 3351189 h 3921510"/>
              <a:gd name="connsiteX9" fmla="*/ 671793 w 3292262"/>
              <a:gd name="connsiteY9" fmla="*/ 3313022 h 3921510"/>
              <a:gd name="connsiteX10" fmla="*/ 673975 w 3292262"/>
              <a:gd name="connsiteY10" fmla="*/ 2685996 h 3921510"/>
              <a:gd name="connsiteX11" fmla="*/ 370690 w 3292262"/>
              <a:gd name="connsiteY11" fmla="*/ 2136393 h 3921510"/>
              <a:gd name="connsiteX12" fmla="*/ 342325 w 3292262"/>
              <a:gd name="connsiteY12" fmla="*/ 2108041 h 3921510"/>
              <a:gd name="connsiteX13" fmla="*/ 39040 w 3292262"/>
              <a:gd name="connsiteY13" fmla="*/ 1559529 h 3921510"/>
              <a:gd name="connsiteX14" fmla="*/ 41222 w 3292262"/>
              <a:gd name="connsiteY14" fmla="*/ 931412 h 3921510"/>
              <a:gd name="connsiteX15" fmla="*/ 52131 w 3292262"/>
              <a:gd name="connsiteY15" fmla="*/ 893245 h 3921510"/>
              <a:gd name="connsiteX16" fmla="*/ 939076 w 3292262"/>
              <a:gd name="connsiteY16" fmla="*/ 39399 h 3921510"/>
              <a:gd name="connsiteX17" fmla="*/ 1269090 w 3292262"/>
              <a:gd name="connsiteY17" fmla="*/ 142 h 3921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92262" h="3921510">
                <a:moveTo>
                  <a:pt x="1269090" y="142"/>
                </a:moveTo>
                <a:cubicBezTo>
                  <a:pt x="1377639" y="1778"/>
                  <a:pt x="1484007" y="17590"/>
                  <a:pt x="1586011" y="45942"/>
                </a:cubicBezTo>
                <a:cubicBezTo>
                  <a:pt x="1591466" y="48123"/>
                  <a:pt x="1596921" y="49214"/>
                  <a:pt x="1602376" y="51394"/>
                </a:cubicBezTo>
                <a:cubicBezTo>
                  <a:pt x="1605649" y="51394"/>
                  <a:pt x="1608921" y="52485"/>
                  <a:pt x="1612194" y="53575"/>
                </a:cubicBezTo>
                <a:cubicBezTo>
                  <a:pt x="1744200" y="90652"/>
                  <a:pt x="1863114" y="123366"/>
                  <a:pt x="1968936" y="153900"/>
                </a:cubicBezTo>
                <a:cubicBezTo>
                  <a:pt x="2574415" y="322924"/>
                  <a:pt x="2807879" y="388353"/>
                  <a:pt x="3292262" y="523573"/>
                </a:cubicBezTo>
                <a:cubicBezTo>
                  <a:pt x="3292262" y="3921510"/>
                  <a:pt x="3292262" y="3921510"/>
                  <a:pt x="3292262" y="3921510"/>
                </a:cubicBezTo>
                <a:lnTo>
                  <a:pt x="301960" y="3921510"/>
                </a:lnTo>
                <a:cubicBezTo>
                  <a:pt x="472148" y="3767752"/>
                  <a:pt x="596517" y="3570375"/>
                  <a:pt x="661974" y="3351189"/>
                </a:cubicBezTo>
                <a:cubicBezTo>
                  <a:pt x="665247" y="3338103"/>
                  <a:pt x="669611" y="3326108"/>
                  <a:pt x="671793" y="3313022"/>
                </a:cubicBezTo>
                <a:cubicBezTo>
                  <a:pt x="725249" y="3113464"/>
                  <a:pt x="728522" y="2898639"/>
                  <a:pt x="673975" y="2685996"/>
                </a:cubicBezTo>
                <a:cubicBezTo>
                  <a:pt x="619427" y="2472261"/>
                  <a:pt x="512514" y="2285789"/>
                  <a:pt x="370690" y="2136393"/>
                </a:cubicBezTo>
                <a:cubicBezTo>
                  <a:pt x="361962" y="2126579"/>
                  <a:pt x="352143" y="2116765"/>
                  <a:pt x="342325" y="2108041"/>
                </a:cubicBezTo>
                <a:cubicBezTo>
                  <a:pt x="200501" y="1958645"/>
                  <a:pt x="94678" y="1772173"/>
                  <a:pt x="39040" y="1559529"/>
                </a:cubicBezTo>
                <a:cubicBezTo>
                  <a:pt x="-15508" y="1345795"/>
                  <a:pt x="-11144" y="1130970"/>
                  <a:pt x="41222" y="931412"/>
                </a:cubicBezTo>
                <a:cubicBezTo>
                  <a:pt x="44495" y="919417"/>
                  <a:pt x="48858" y="906331"/>
                  <a:pt x="52131" y="893245"/>
                </a:cubicBezTo>
                <a:cubicBezTo>
                  <a:pt x="173227" y="487587"/>
                  <a:pt x="498331" y="152809"/>
                  <a:pt x="939076" y="39399"/>
                </a:cubicBezTo>
                <a:cubicBezTo>
                  <a:pt x="1049808" y="11047"/>
                  <a:pt x="1160540" y="-1494"/>
                  <a:pt x="1269090" y="142"/>
                </a:cubicBezTo>
                <a:close/>
              </a:path>
            </a:pathLst>
          </a:custGeom>
        </p:spPr>
        <p:txBody>
          <a:bodyPr wrap="square" tIns="15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56A187-5C21-6D84-21C3-FDB317F97CE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553CAFF3-88CC-A44E-5E3C-DD2FD58608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0495" y="2315189"/>
            <a:ext cx="3404695" cy="4543836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7A3F113-29C8-F197-A2C1-B43918C6C9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48953" y="-5786"/>
            <a:ext cx="5847811" cy="4749490"/>
          </a:xfrm>
          <a:custGeom>
            <a:avLst/>
            <a:gdLst>
              <a:gd name="connsiteX0" fmla="*/ 1348177 w 5886451"/>
              <a:gd name="connsiteY0" fmla="*/ 0 h 4780873"/>
              <a:gd name="connsiteX1" fmla="*/ 5886451 w 5886451"/>
              <a:gd name="connsiteY1" fmla="*/ 0 h 4780873"/>
              <a:gd name="connsiteX2" fmla="*/ 5886451 w 5886451"/>
              <a:gd name="connsiteY2" fmla="*/ 2351144 h 4780873"/>
              <a:gd name="connsiteX3" fmla="*/ 3685444 w 5886451"/>
              <a:gd name="connsiteY3" fmla="*/ 4780873 h 4780873"/>
              <a:gd name="connsiteX4" fmla="*/ 3685444 w 5886451"/>
              <a:gd name="connsiteY4" fmla="*/ 4777665 h 4780873"/>
              <a:gd name="connsiteX5" fmla="*/ 3685444 w 5886451"/>
              <a:gd name="connsiteY5" fmla="*/ 4776061 h 4780873"/>
              <a:gd name="connsiteX6" fmla="*/ 3520329 w 5886451"/>
              <a:gd name="connsiteY6" fmla="*/ 4181058 h 4780873"/>
              <a:gd name="connsiteX7" fmla="*/ 3087501 w 5886451"/>
              <a:gd name="connsiteY7" fmla="*/ 3740018 h 4780873"/>
              <a:gd name="connsiteX8" fmla="*/ 3053837 w 5886451"/>
              <a:gd name="connsiteY8" fmla="*/ 3720773 h 4780873"/>
              <a:gd name="connsiteX9" fmla="*/ 1845127 w 5886451"/>
              <a:gd name="connsiteY9" fmla="*/ 3728792 h 4780873"/>
              <a:gd name="connsiteX10" fmla="*/ 1841921 w 5886451"/>
              <a:gd name="connsiteY10" fmla="*/ 3730396 h 4780873"/>
              <a:gd name="connsiteX11" fmla="*/ 1777798 w 5886451"/>
              <a:gd name="connsiteY11" fmla="*/ 3765679 h 4780873"/>
              <a:gd name="connsiteX12" fmla="*/ 1750546 w 5886451"/>
              <a:gd name="connsiteY12" fmla="*/ 3780113 h 4780873"/>
              <a:gd name="connsiteX13" fmla="*/ 1721691 w 5886451"/>
              <a:gd name="connsiteY13" fmla="*/ 3791339 h 4780873"/>
              <a:gd name="connsiteX14" fmla="*/ 1694439 w 5886451"/>
              <a:gd name="connsiteY14" fmla="*/ 3804170 h 4780873"/>
              <a:gd name="connsiteX15" fmla="*/ 1665584 w 5886451"/>
              <a:gd name="connsiteY15" fmla="*/ 3815396 h 4780873"/>
              <a:gd name="connsiteX16" fmla="*/ 1636729 w 5886451"/>
              <a:gd name="connsiteY16" fmla="*/ 3826623 h 4780873"/>
              <a:gd name="connsiteX17" fmla="*/ 1607873 w 5886451"/>
              <a:gd name="connsiteY17" fmla="*/ 3836245 h 4780873"/>
              <a:gd name="connsiteX18" fmla="*/ 1149397 w 5886451"/>
              <a:gd name="connsiteY18" fmla="*/ 3893981 h 4780873"/>
              <a:gd name="connsiteX19" fmla="*/ 1120542 w 5886451"/>
              <a:gd name="connsiteY19" fmla="*/ 3890774 h 4780873"/>
              <a:gd name="connsiteX20" fmla="*/ 1091687 w 5886451"/>
              <a:gd name="connsiteY20" fmla="*/ 3887566 h 4780873"/>
              <a:gd name="connsiteX21" fmla="*/ 1090084 w 5886451"/>
              <a:gd name="connsiteY21" fmla="*/ 3887566 h 4780873"/>
              <a:gd name="connsiteX22" fmla="*/ 1064435 w 5886451"/>
              <a:gd name="connsiteY22" fmla="*/ 3884359 h 4780873"/>
              <a:gd name="connsiteX23" fmla="*/ 1061229 w 5886451"/>
              <a:gd name="connsiteY23" fmla="*/ 3884359 h 4780873"/>
              <a:gd name="connsiteX24" fmla="*/ 1045198 w 5886451"/>
              <a:gd name="connsiteY24" fmla="*/ 3881151 h 4780873"/>
              <a:gd name="connsiteX25" fmla="*/ 1043595 w 5886451"/>
              <a:gd name="connsiteY25" fmla="*/ 3881151 h 4780873"/>
              <a:gd name="connsiteX26" fmla="*/ 1035579 w 5886451"/>
              <a:gd name="connsiteY26" fmla="*/ 3881151 h 4780873"/>
              <a:gd name="connsiteX27" fmla="*/ 1030770 w 5886451"/>
              <a:gd name="connsiteY27" fmla="*/ 3879547 h 4780873"/>
              <a:gd name="connsiteX28" fmla="*/ 1019549 w 5886451"/>
              <a:gd name="connsiteY28" fmla="*/ 3877944 h 4780873"/>
              <a:gd name="connsiteX29" fmla="*/ 1013137 w 5886451"/>
              <a:gd name="connsiteY29" fmla="*/ 3876340 h 4780873"/>
              <a:gd name="connsiteX30" fmla="*/ 1006724 w 5886451"/>
              <a:gd name="connsiteY30" fmla="*/ 3876340 h 4780873"/>
              <a:gd name="connsiteX31" fmla="*/ 1000312 w 5886451"/>
              <a:gd name="connsiteY31" fmla="*/ 3874736 h 4780873"/>
              <a:gd name="connsiteX32" fmla="*/ 992297 w 5886451"/>
              <a:gd name="connsiteY32" fmla="*/ 3873132 h 4780873"/>
              <a:gd name="connsiteX33" fmla="*/ 984281 w 5886451"/>
              <a:gd name="connsiteY33" fmla="*/ 3871528 h 4780873"/>
              <a:gd name="connsiteX34" fmla="*/ 979472 w 5886451"/>
              <a:gd name="connsiteY34" fmla="*/ 3869925 h 4780873"/>
              <a:gd name="connsiteX35" fmla="*/ 971457 w 5886451"/>
              <a:gd name="connsiteY35" fmla="*/ 3868321 h 4780873"/>
              <a:gd name="connsiteX36" fmla="*/ 966648 w 5886451"/>
              <a:gd name="connsiteY36" fmla="*/ 3866717 h 4780873"/>
              <a:gd name="connsiteX37" fmla="*/ 955426 w 5886451"/>
              <a:gd name="connsiteY37" fmla="*/ 3865113 h 4780873"/>
              <a:gd name="connsiteX38" fmla="*/ 950617 w 5886451"/>
              <a:gd name="connsiteY38" fmla="*/ 3863510 h 4780873"/>
              <a:gd name="connsiteX39" fmla="*/ 940999 w 5886451"/>
              <a:gd name="connsiteY39" fmla="*/ 3861906 h 4780873"/>
              <a:gd name="connsiteX40" fmla="*/ 937793 w 5886451"/>
              <a:gd name="connsiteY40" fmla="*/ 3860302 h 4780873"/>
              <a:gd name="connsiteX41" fmla="*/ 926571 w 5886451"/>
              <a:gd name="connsiteY41" fmla="*/ 3858698 h 4780873"/>
              <a:gd name="connsiteX42" fmla="*/ 923365 w 5886451"/>
              <a:gd name="connsiteY42" fmla="*/ 3857094 h 4780873"/>
              <a:gd name="connsiteX43" fmla="*/ 897716 w 5886451"/>
              <a:gd name="connsiteY43" fmla="*/ 3850679 h 4780873"/>
              <a:gd name="connsiteX44" fmla="*/ 894510 w 5886451"/>
              <a:gd name="connsiteY44" fmla="*/ 3849075 h 4780873"/>
              <a:gd name="connsiteX45" fmla="*/ 867258 w 5886451"/>
              <a:gd name="connsiteY45" fmla="*/ 3841057 h 4780873"/>
              <a:gd name="connsiteX46" fmla="*/ 630004 w 5886451"/>
              <a:gd name="connsiteY46" fmla="*/ 3740018 h 4780873"/>
              <a:gd name="connsiteX47" fmla="*/ 581912 w 5886451"/>
              <a:gd name="connsiteY47" fmla="*/ 3711150 h 4780873"/>
              <a:gd name="connsiteX48" fmla="*/ 578706 w 5886451"/>
              <a:gd name="connsiteY48" fmla="*/ 3709547 h 4780873"/>
              <a:gd name="connsiteX49" fmla="*/ 569088 w 5886451"/>
              <a:gd name="connsiteY49" fmla="*/ 3704735 h 4780873"/>
              <a:gd name="connsiteX50" fmla="*/ 562676 w 5886451"/>
              <a:gd name="connsiteY50" fmla="*/ 3699924 h 4780873"/>
              <a:gd name="connsiteX51" fmla="*/ 559469 w 5886451"/>
              <a:gd name="connsiteY51" fmla="*/ 3698320 h 4780873"/>
              <a:gd name="connsiteX52" fmla="*/ 163513 w 5886451"/>
              <a:gd name="connsiteY52" fmla="*/ 3281337 h 4780873"/>
              <a:gd name="connsiteX53" fmla="*/ 0 w 5886451"/>
              <a:gd name="connsiteY53" fmla="*/ 2687938 h 4780873"/>
              <a:gd name="connsiteX54" fmla="*/ 0 w 5886451"/>
              <a:gd name="connsiteY54" fmla="*/ 2649447 h 4780873"/>
              <a:gd name="connsiteX55" fmla="*/ 0 w 5886451"/>
              <a:gd name="connsiteY55" fmla="*/ 2647843 h 4780873"/>
              <a:gd name="connsiteX56" fmla="*/ 176337 w 5886451"/>
              <a:gd name="connsiteY56" fmla="*/ 2031991 h 4780873"/>
              <a:gd name="connsiteX57" fmla="*/ 1348177 w 5886451"/>
              <a:gd name="connsiteY57" fmla="*/ 0 h 478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886451" h="4780873">
                <a:moveTo>
                  <a:pt x="1348177" y="0"/>
                </a:moveTo>
                <a:cubicBezTo>
                  <a:pt x="1348177" y="0"/>
                  <a:pt x="1348177" y="0"/>
                  <a:pt x="5886451" y="0"/>
                </a:cubicBezTo>
                <a:cubicBezTo>
                  <a:pt x="5886451" y="0"/>
                  <a:pt x="5886451" y="0"/>
                  <a:pt x="5886451" y="2351144"/>
                </a:cubicBezTo>
                <a:cubicBezTo>
                  <a:pt x="4653695" y="2477842"/>
                  <a:pt x="3693460" y="3517093"/>
                  <a:pt x="3685444" y="4780873"/>
                </a:cubicBezTo>
                <a:lnTo>
                  <a:pt x="3685444" y="4777665"/>
                </a:lnTo>
                <a:cubicBezTo>
                  <a:pt x="3685444" y="4777665"/>
                  <a:pt x="3685444" y="4776061"/>
                  <a:pt x="3685444" y="4776061"/>
                </a:cubicBezTo>
                <a:cubicBezTo>
                  <a:pt x="3682238" y="4573985"/>
                  <a:pt x="3629337" y="4368701"/>
                  <a:pt x="3520329" y="4181058"/>
                </a:cubicBezTo>
                <a:cubicBezTo>
                  <a:pt x="3412923" y="3993416"/>
                  <a:pt x="3262235" y="3844264"/>
                  <a:pt x="3087501" y="3740018"/>
                </a:cubicBezTo>
                <a:cubicBezTo>
                  <a:pt x="3076280" y="3733603"/>
                  <a:pt x="3065058" y="3727188"/>
                  <a:pt x="3053837" y="3720773"/>
                </a:cubicBezTo>
                <a:cubicBezTo>
                  <a:pt x="2689942" y="3518697"/>
                  <a:pt x="2231465" y="3507470"/>
                  <a:pt x="1845127" y="3728792"/>
                </a:cubicBezTo>
                <a:cubicBezTo>
                  <a:pt x="1843524" y="3730396"/>
                  <a:pt x="1843524" y="3730396"/>
                  <a:pt x="1841921" y="3730396"/>
                </a:cubicBezTo>
                <a:cubicBezTo>
                  <a:pt x="1821081" y="3743226"/>
                  <a:pt x="1800241" y="3754452"/>
                  <a:pt x="1777798" y="3765679"/>
                </a:cubicBezTo>
                <a:cubicBezTo>
                  <a:pt x="1769783" y="3770490"/>
                  <a:pt x="1760164" y="3775302"/>
                  <a:pt x="1750546" y="3780113"/>
                </a:cubicBezTo>
                <a:cubicBezTo>
                  <a:pt x="1740928" y="3783320"/>
                  <a:pt x="1731309" y="3788132"/>
                  <a:pt x="1721691" y="3791339"/>
                </a:cubicBezTo>
                <a:cubicBezTo>
                  <a:pt x="1713676" y="3796151"/>
                  <a:pt x="1704057" y="3799358"/>
                  <a:pt x="1694439" y="3804170"/>
                </a:cubicBezTo>
                <a:cubicBezTo>
                  <a:pt x="1684820" y="3807377"/>
                  <a:pt x="1675202" y="3812189"/>
                  <a:pt x="1665584" y="3815396"/>
                </a:cubicBezTo>
                <a:cubicBezTo>
                  <a:pt x="1655965" y="3818604"/>
                  <a:pt x="1646347" y="3821811"/>
                  <a:pt x="1636729" y="3826623"/>
                </a:cubicBezTo>
                <a:cubicBezTo>
                  <a:pt x="1627110" y="3829830"/>
                  <a:pt x="1617492" y="3833038"/>
                  <a:pt x="1607873" y="3836245"/>
                </a:cubicBezTo>
                <a:cubicBezTo>
                  <a:pt x="1457185" y="3884359"/>
                  <a:pt x="1303291" y="3903604"/>
                  <a:pt x="1149397" y="3893981"/>
                </a:cubicBezTo>
                <a:cubicBezTo>
                  <a:pt x="1139779" y="3892378"/>
                  <a:pt x="1130160" y="3892378"/>
                  <a:pt x="1120542" y="3890774"/>
                </a:cubicBezTo>
                <a:cubicBezTo>
                  <a:pt x="1110924" y="3890774"/>
                  <a:pt x="1101305" y="3889170"/>
                  <a:pt x="1091687" y="3887566"/>
                </a:cubicBezTo>
                <a:cubicBezTo>
                  <a:pt x="1091687" y="3887566"/>
                  <a:pt x="1091687" y="3887566"/>
                  <a:pt x="1090084" y="3887566"/>
                </a:cubicBezTo>
                <a:cubicBezTo>
                  <a:pt x="1082068" y="3887566"/>
                  <a:pt x="1072450" y="3885962"/>
                  <a:pt x="1064435" y="3884359"/>
                </a:cubicBezTo>
                <a:cubicBezTo>
                  <a:pt x="1064435" y="3884359"/>
                  <a:pt x="1064435" y="3884359"/>
                  <a:pt x="1061229" y="3884359"/>
                </a:cubicBezTo>
                <a:cubicBezTo>
                  <a:pt x="1054816" y="3882755"/>
                  <a:pt x="1050007" y="3882755"/>
                  <a:pt x="1045198" y="3881151"/>
                </a:cubicBezTo>
                <a:cubicBezTo>
                  <a:pt x="1043595" y="3881151"/>
                  <a:pt x="1043595" y="3881151"/>
                  <a:pt x="1043595" y="3881151"/>
                </a:cubicBezTo>
                <a:cubicBezTo>
                  <a:pt x="1040389" y="3881151"/>
                  <a:pt x="1038786" y="3881151"/>
                  <a:pt x="1035579" y="3881151"/>
                </a:cubicBezTo>
                <a:cubicBezTo>
                  <a:pt x="1033976" y="3879547"/>
                  <a:pt x="1032373" y="3879547"/>
                  <a:pt x="1030770" y="3879547"/>
                </a:cubicBezTo>
                <a:cubicBezTo>
                  <a:pt x="1027564" y="3879547"/>
                  <a:pt x="1022755" y="3877944"/>
                  <a:pt x="1019549" y="3877944"/>
                </a:cubicBezTo>
                <a:cubicBezTo>
                  <a:pt x="1017946" y="3877944"/>
                  <a:pt x="1016343" y="3877944"/>
                  <a:pt x="1013137" y="3876340"/>
                </a:cubicBezTo>
                <a:cubicBezTo>
                  <a:pt x="1011534" y="3876340"/>
                  <a:pt x="1009931" y="3876340"/>
                  <a:pt x="1006724" y="3876340"/>
                </a:cubicBezTo>
                <a:cubicBezTo>
                  <a:pt x="1005121" y="3874736"/>
                  <a:pt x="1003518" y="3874736"/>
                  <a:pt x="1000312" y="3874736"/>
                </a:cubicBezTo>
                <a:cubicBezTo>
                  <a:pt x="998709" y="3874736"/>
                  <a:pt x="995503" y="3873132"/>
                  <a:pt x="992297" y="3873132"/>
                </a:cubicBezTo>
                <a:cubicBezTo>
                  <a:pt x="990694" y="3873132"/>
                  <a:pt x="987488" y="3871528"/>
                  <a:pt x="984281" y="3871528"/>
                </a:cubicBezTo>
                <a:cubicBezTo>
                  <a:pt x="982679" y="3871528"/>
                  <a:pt x="981076" y="3869925"/>
                  <a:pt x="979472" y="3869925"/>
                </a:cubicBezTo>
                <a:cubicBezTo>
                  <a:pt x="976266" y="3869925"/>
                  <a:pt x="973060" y="3868321"/>
                  <a:pt x="971457" y="3868321"/>
                </a:cubicBezTo>
                <a:cubicBezTo>
                  <a:pt x="969854" y="3868321"/>
                  <a:pt x="968251" y="3868321"/>
                  <a:pt x="966648" y="3866717"/>
                </a:cubicBezTo>
                <a:cubicBezTo>
                  <a:pt x="961839" y="3866717"/>
                  <a:pt x="958632" y="3865113"/>
                  <a:pt x="955426" y="3865113"/>
                </a:cubicBezTo>
                <a:cubicBezTo>
                  <a:pt x="953823" y="3865113"/>
                  <a:pt x="952220" y="3863510"/>
                  <a:pt x="950617" y="3863510"/>
                </a:cubicBezTo>
                <a:cubicBezTo>
                  <a:pt x="947411" y="3863510"/>
                  <a:pt x="944205" y="3861906"/>
                  <a:pt x="940999" y="3861906"/>
                </a:cubicBezTo>
                <a:cubicBezTo>
                  <a:pt x="939396" y="3861906"/>
                  <a:pt x="939396" y="3861906"/>
                  <a:pt x="937793" y="3860302"/>
                </a:cubicBezTo>
                <a:cubicBezTo>
                  <a:pt x="934586" y="3860302"/>
                  <a:pt x="929777" y="3858698"/>
                  <a:pt x="926571" y="3858698"/>
                </a:cubicBezTo>
                <a:cubicBezTo>
                  <a:pt x="924968" y="3857094"/>
                  <a:pt x="923365" y="3857094"/>
                  <a:pt x="923365" y="3857094"/>
                </a:cubicBezTo>
                <a:cubicBezTo>
                  <a:pt x="913747" y="3855491"/>
                  <a:pt x="905732" y="3852283"/>
                  <a:pt x="897716" y="3850679"/>
                </a:cubicBezTo>
                <a:cubicBezTo>
                  <a:pt x="896113" y="3850679"/>
                  <a:pt x="896113" y="3849075"/>
                  <a:pt x="894510" y="3849075"/>
                </a:cubicBezTo>
                <a:cubicBezTo>
                  <a:pt x="886495" y="3847472"/>
                  <a:pt x="876876" y="3844264"/>
                  <a:pt x="867258" y="3841057"/>
                </a:cubicBezTo>
                <a:cubicBezTo>
                  <a:pt x="785502" y="3817000"/>
                  <a:pt x="705348" y="3783320"/>
                  <a:pt x="630004" y="3740018"/>
                </a:cubicBezTo>
                <a:cubicBezTo>
                  <a:pt x="612371" y="3730396"/>
                  <a:pt x="596340" y="3720773"/>
                  <a:pt x="581912" y="3711150"/>
                </a:cubicBezTo>
                <a:cubicBezTo>
                  <a:pt x="580309" y="3711150"/>
                  <a:pt x="580309" y="3711150"/>
                  <a:pt x="578706" y="3709547"/>
                </a:cubicBezTo>
                <a:cubicBezTo>
                  <a:pt x="575500" y="3707943"/>
                  <a:pt x="572294" y="3706339"/>
                  <a:pt x="569088" y="3704735"/>
                </a:cubicBezTo>
                <a:cubicBezTo>
                  <a:pt x="567485" y="3703131"/>
                  <a:pt x="564279" y="3701528"/>
                  <a:pt x="562676" y="3699924"/>
                </a:cubicBezTo>
                <a:cubicBezTo>
                  <a:pt x="561073" y="3698320"/>
                  <a:pt x="559469" y="3698320"/>
                  <a:pt x="559469" y="3698320"/>
                </a:cubicBezTo>
                <a:cubicBezTo>
                  <a:pt x="400766" y="3595678"/>
                  <a:pt x="264506" y="3454545"/>
                  <a:pt x="163513" y="3281337"/>
                </a:cubicBezTo>
                <a:cubicBezTo>
                  <a:pt x="56107" y="3093694"/>
                  <a:pt x="3206" y="2890014"/>
                  <a:pt x="0" y="2687938"/>
                </a:cubicBezTo>
                <a:cubicBezTo>
                  <a:pt x="0" y="2675108"/>
                  <a:pt x="0" y="2662277"/>
                  <a:pt x="0" y="2649447"/>
                </a:cubicBezTo>
                <a:cubicBezTo>
                  <a:pt x="0" y="2647843"/>
                  <a:pt x="0" y="2647843"/>
                  <a:pt x="0" y="2647843"/>
                </a:cubicBezTo>
                <a:cubicBezTo>
                  <a:pt x="3206" y="2429729"/>
                  <a:pt x="64123" y="2218030"/>
                  <a:pt x="176337" y="2031991"/>
                </a:cubicBezTo>
                <a:cubicBezTo>
                  <a:pt x="763059" y="1013590"/>
                  <a:pt x="782295" y="981514"/>
                  <a:pt x="1348177" y="0"/>
                </a:cubicBezTo>
                <a:close/>
              </a:path>
            </a:pathLst>
          </a:custGeom>
        </p:spPr>
        <p:txBody>
          <a:bodyPr wrap="square" tIns="194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C4DAE7-361A-9A7C-2ED8-C9B08AC308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645301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yellow and white wave&#10;&#10;Description automatically generated">
            <a:extLst>
              <a:ext uri="{FF2B5EF4-FFF2-40B4-BE49-F238E27FC236}">
                <a16:creationId xmlns:a16="http://schemas.microsoft.com/office/drawing/2014/main" id="{E3AE4C31-1513-8690-5A19-C5DAE72245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406" y="3356815"/>
            <a:ext cx="4452594" cy="3501185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61892DA-CFC4-B8E3-39CB-54CC852A6B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56493" y="576296"/>
            <a:ext cx="6130366" cy="5583110"/>
          </a:xfrm>
          <a:custGeom>
            <a:avLst/>
            <a:gdLst>
              <a:gd name="connsiteX0" fmla="*/ 1801914 w 5494338"/>
              <a:gd name="connsiteY0" fmla="*/ 636 h 5003860"/>
              <a:gd name="connsiteX1" fmla="*/ 1846212 w 5494338"/>
              <a:gd name="connsiteY1" fmla="*/ 636 h 5003860"/>
              <a:gd name="connsiteX2" fmla="*/ 3645268 w 5494338"/>
              <a:gd name="connsiteY2" fmla="*/ 636 h 5003860"/>
              <a:gd name="connsiteX3" fmla="*/ 4108250 w 5494338"/>
              <a:gd name="connsiteY3" fmla="*/ 114958 h 5003860"/>
              <a:gd name="connsiteX4" fmla="*/ 4108250 w 5494338"/>
              <a:gd name="connsiteY4" fmla="*/ 116387 h 5003860"/>
              <a:gd name="connsiteX5" fmla="*/ 4163980 w 5494338"/>
              <a:gd name="connsiteY5" fmla="*/ 149254 h 5003860"/>
              <a:gd name="connsiteX6" fmla="*/ 4166837 w 5494338"/>
              <a:gd name="connsiteY6" fmla="*/ 152112 h 5003860"/>
              <a:gd name="connsiteX7" fmla="*/ 4169695 w 5494338"/>
              <a:gd name="connsiteY7" fmla="*/ 153541 h 5003860"/>
              <a:gd name="connsiteX8" fmla="*/ 4172553 w 5494338"/>
              <a:gd name="connsiteY8" fmla="*/ 154970 h 5003860"/>
              <a:gd name="connsiteX9" fmla="*/ 4176840 w 5494338"/>
              <a:gd name="connsiteY9" fmla="*/ 157828 h 5003860"/>
              <a:gd name="connsiteX10" fmla="*/ 4178269 w 5494338"/>
              <a:gd name="connsiteY10" fmla="*/ 159257 h 5003860"/>
              <a:gd name="connsiteX11" fmla="*/ 4455487 w 5494338"/>
              <a:gd name="connsiteY11" fmla="*/ 457923 h 5003860"/>
              <a:gd name="connsiteX12" fmla="*/ 5371448 w 5494338"/>
              <a:gd name="connsiteY12" fmla="*/ 2044135 h 5003860"/>
              <a:gd name="connsiteX13" fmla="*/ 5488622 w 5494338"/>
              <a:gd name="connsiteY13" fmla="*/ 2404248 h 5003860"/>
              <a:gd name="connsiteX14" fmla="*/ 5488622 w 5494338"/>
              <a:gd name="connsiteY14" fmla="*/ 2405677 h 5003860"/>
              <a:gd name="connsiteX15" fmla="*/ 5490051 w 5494338"/>
              <a:gd name="connsiteY15" fmla="*/ 2411393 h 5003860"/>
              <a:gd name="connsiteX16" fmla="*/ 5490051 w 5494338"/>
              <a:gd name="connsiteY16" fmla="*/ 2414251 h 5003860"/>
              <a:gd name="connsiteX17" fmla="*/ 5490051 w 5494338"/>
              <a:gd name="connsiteY17" fmla="*/ 2417109 h 5003860"/>
              <a:gd name="connsiteX18" fmla="*/ 5490051 w 5494338"/>
              <a:gd name="connsiteY18" fmla="*/ 2422825 h 5003860"/>
              <a:gd name="connsiteX19" fmla="*/ 5491480 w 5494338"/>
              <a:gd name="connsiteY19" fmla="*/ 2424254 h 5003860"/>
              <a:gd name="connsiteX20" fmla="*/ 5494338 w 5494338"/>
              <a:gd name="connsiteY20" fmla="*/ 2515711 h 5003860"/>
              <a:gd name="connsiteX21" fmla="*/ 5490051 w 5494338"/>
              <a:gd name="connsiteY21" fmla="*/ 2585733 h 5003860"/>
              <a:gd name="connsiteX22" fmla="*/ 5490051 w 5494338"/>
              <a:gd name="connsiteY22" fmla="*/ 2592878 h 5003860"/>
              <a:gd name="connsiteX23" fmla="*/ 5488622 w 5494338"/>
              <a:gd name="connsiteY23" fmla="*/ 2600023 h 5003860"/>
              <a:gd name="connsiteX24" fmla="*/ 5487193 w 5494338"/>
              <a:gd name="connsiteY24" fmla="*/ 2607168 h 5003860"/>
              <a:gd name="connsiteX25" fmla="*/ 5487193 w 5494338"/>
              <a:gd name="connsiteY25" fmla="*/ 2608597 h 5003860"/>
              <a:gd name="connsiteX26" fmla="*/ 5487193 w 5494338"/>
              <a:gd name="connsiteY26" fmla="*/ 2614313 h 5003860"/>
              <a:gd name="connsiteX27" fmla="*/ 5487193 w 5494338"/>
              <a:gd name="connsiteY27" fmla="*/ 2615742 h 5003860"/>
              <a:gd name="connsiteX28" fmla="*/ 5485764 w 5494338"/>
              <a:gd name="connsiteY28" fmla="*/ 2621459 h 5003860"/>
              <a:gd name="connsiteX29" fmla="*/ 5485764 w 5494338"/>
              <a:gd name="connsiteY29" fmla="*/ 2622888 h 5003860"/>
              <a:gd name="connsiteX30" fmla="*/ 5485764 w 5494338"/>
              <a:gd name="connsiteY30" fmla="*/ 2628604 h 5003860"/>
              <a:gd name="connsiteX31" fmla="*/ 5484336 w 5494338"/>
              <a:gd name="connsiteY31" fmla="*/ 2630033 h 5003860"/>
              <a:gd name="connsiteX32" fmla="*/ 5484336 w 5494338"/>
              <a:gd name="connsiteY32" fmla="*/ 2635749 h 5003860"/>
              <a:gd name="connsiteX33" fmla="*/ 5484336 w 5494338"/>
              <a:gd name="connsiteY33" fmla="*/ 2638607 h 5003860"/>
              <a:gd name="connsiteX34" fmla="*/ 5482906 w 5494338"/>
              <a:gd name="connsiteY34" fmla="*/ 2642894 h 5003860"/>
              <a:gd name="connsiteX35" fmla="*/ 5482906 w 5494338"/>
              <a:gd name="connsiteY35" fmla="*/ 2645752 h 5003860"/>
              <a:gd name="connsiteX36" fmla="*/ 5481478 w 5494338"/>
              <a:gd name="connsiteY36" fmla="*/ 2650039 h 5003860"/>
              <a:gd name="connsiteX37" fmla="*/ 5481478 w 5494338"/>
              <a:gd name="connsiteY37" fmla="*/ 2652897 h 5003860"/>
              <a:gd name="connsiteX38" fmla="*/ 5481478 w 5494338"/>
              <a:gd name="connsiteY38" fmla="*/ 2655755 h 5003860"/>
              <a:gd name="connsiteX39" fmla="*/ 5480048 w 5494338"/>
              <a:gd name="connsiteY39" fmla="*/ 2660042 h 5003860"/>
              <a:gd name="connsiteX40" fmla="*/ 5480048 w 5494338"/>
              <a:gd name="connsiteY40" fmla="*/ 2662900 h 5003860"/>
              <a:gd name="connsiteX41" fmla="*/ 5478620 w 5494338"/>
              <a:gd name="connsiteY41" fmla="*/ 2667187 h 5003860"/>
              <a:gd name="connsiteX42" fmla="*/ 5478620 w 5494338"/>
              <a:gd name="connsiteY42" fmla="*/ 2668616 h 5003860"/>
              <a:gd name="connsiteX43" fmla="*/ 5362874 w 5494338"/>
              <a:gd name="connsiteY43" fmla="*/ 2974426 h 5003860"/>
              <a:gd name="connsiteX44" fmla="*/ 4462632 w 5494338"/>
              <a:gd name="connsiteY44" fmla="*/ 4532058 h 5003860"/>
              <a:gd name="connsiteX45" fmla="*/ 4121111 w 5494338"/>
              <a:gd name="connsiteY45" fmla="*/ 4880739 h 5003860"/>
              <a:gd name="connsiteX46" fmla="*/ 3376624 w 5494338"/>
              <a:gd name="connsiteY46" fmla="*/ 4957906 h 5003860"/>
              <a:gd name="connsiteX47" fmla="*/ 3358048 w 5494338"/>
              <a:gd name="connsiteY47" fmla="*/ 4950761 h 5003860"/>
              <a:gd name="connsiteX48" fmla="*/ 3355190 w 5494338"/>
              <a:gd name="connsiteY48" fmla="*/ 4950761 h 5003860"/>
              <a:gd name="connsiteX49" fmla="*/ 3349474 w 5494338"/>
              <a:gd name="connsiteY49" fmla="*/ 4947903 h 5003860"/>
              <a:gd name="connsiteX50" fmla="*/ 3348045 w 5494338"/>
              <a:gd name="connsiteY50" fmla="*/ 4947903 h 5003860"/>
              <a:gd name="connsiteX51" fmla="*/ 3338043 w 5494338"/>
              <a:gd name="connsiteY51" fmla="*/ 4943616 h 5003860"/>
              <a:gd name="connsiteX52" fmla="*/ 3335185 w 5494338"/>
              <a:gd name="connsiteY52" fmla="*/ 4942187 h 5003860"/>
              <a:gd name="connsiteX53" fmla="*/ 3329469 w 5494338"/>
              <a:gd name="connsiteY53" fmla="*/ 4940758 h 5003860"/>
              <a:gd name="connsiteX54" fmla="*/ 3325182 w 5494338"/>
              <a:gd name="connsiteY54" fmla="*/ 4939329 h 5003860"/>
              <a:gd name="connsiteX55" fmla="*/ 3318037 w 5494338"/>
              <a:gd name="connsiteY55" fmla="*/ 4936471 h 5003860"/>
              <a:gd name="connsiteX56" fmla="*/ 3313750 w 5494338"/>
              <a:gd name="connsiteY56" fmla="*/ 4935042 h 5003860"/>
              <a:gd name="connsiteX57" fmla="*/ 3309464 w 5494338"/>
              <a:gd name="connsiteY57" fmla="*/ 4932184 h 5003860"/>
              <a:gd name="connsiteX58" fmla="*/ 3302319 w 5494338"/>
              <a:gd name="connsiteY58" fmla="*/ 4929326 h 5003860"/>
              <a:gd name="connsiteX59" fmla="*/ 3299461 w 5494338"/>
              <a:gd name="connsiteY59" fmla="*/ 4927897 h 5003860"/>
              <a:gd name="connsiteX60" fmla="*/ 3292316 w 5494338"/>
              <a:gd name="connsiteY60" fmla="*/ 4925039 h 5003860"/>
              <a:gd name="connsiteX61" fmla="*/ 3289458 w 5494338"/>
              <a:gd name="connsiteY61" fmla="*/ 4923610 h 5003860"/>
              <a:gd name="connsiteX62" fmla="*/ 3282313 w 5494338"/>
              <a:gd name="connsiteY62" fmla="*/ 4920752 h 5003860"/>
              <a:gd name="connsiteX63" fmla="*/ 3279455 w 5494338"/>
              <a:gd name="connsiteY63" fmla="*/ 4919323 h 5003860"/>
              <a:gd name="connsiteX64" fmla="*/ 3272311 w 5494338"/>
              <a:gd name="connsiteY64" fmla="*/ 4916465 h 5003860"/>
              <a:gd name="connsiteX65" fmla="*/ 3270882 w 5494338"/>
              <a:gd name="connsiteY65" fmla="*/ 4915036 h 5003860"/>
              <a:gd name="connsiteX66" fmla="*/ 3260879 w 5494338"/>
              <a:gd name="connsiteY66" fmla="*/ 4910749 h 5003860"/>
              <a:gd name="connsiteX67" fmla="*/ 3250876 w 5494338"/>
              <a:gd name="connsiteY67" fmla="*/ 4906461 h 5003860"/>
              <a:gd name="connsiteX68" fmla="*/ 3240874 w 5494338"/>
              <a:gd name="connsiteY68" fmla="*/ 4900745 h 5003860"/>
              <a:gd name="connsiteX69" fmla="*/ 3216581 w 5494338"/>
              <a:gd name="connsiteY69" fmla="*/ 4887884 h 5003860"/>
              <a:gd name="connsiteX70" fmla="*/ 3137989 w 5494338"/>
              <a:gd name="connsiteY70" fmla="*/ 4839298 h 5003860"/>
              <a:gd name="connsiteX71" fmla="*/ 3135131 w 5494338"/>
              <a:gd name="connsiteY71" fmla="*/ 4836439 h 5003860"/>
              <a:gd name="connsiteX72" fmla="*/ 3129415 w 5494338"/>
              <a:gd name="connsiteY72" fmla="*/ 4832152 h 5003860"/>
              <a:gd name="connsiteX73" fmla="*/ 3127986 w 5494338"/>
              <a:gd name="connsiteY73" fmla="*/ 4830723 h 5003860"/>
              <a:gd name="connsiteX74" fmla="*/ 3119412 w 5494338"/>
              <a:gd name="connsiteY74" fmla="*/ 4825007 h 5003860"/>
              <a:gd name="connsiteX75" fmla="*/ 3117983 w 5494338"/>
              <a:gd name="connsiteY75" fmla="*/ 4825007 h 5003860"/>
              <a:gd name="connsiteX76" fmla="*/ 2869345 w 5494338"/>
              <a:gd name="connsiteY76" fmla="*/ 4544919 h 5003860"/>
              <a:gd name="connsiteX77" fmla="*/ 2749313 w 5494338"/>
              <a:gd name="connsiteY77" fmla="*/ 4154797 h 5003860"/>
              <a:gd name="connsiteX78" fmla="*/ 2749313 w 5494338"/>
              <a:gd name="connsiteY78" fmla="*/ 4149081 h 5003860"/>
              <a:gd name="connsiteX79" fmla="*/ 2749313 w 5494338"/>
              <a:gd name="connsiteY79" fmla="*/ 4146223 h 5003860"/>
              <a:gd name="connsiteX80" fmla="*/ 2747884 w 5494338"/>
              <a:gd name="connsiteY80" fmla="*/ 4141936 h 5003860"/>
              <a:gd name="connsiteX81" fmla="*/ 2747884 w 5494338"/>
              <a:gd name="connsiteY81" fmla="*/ 4137649 h 5003860"/>
              <a:gd name="connsiteX82" fmla="*/ 2747884 w 5494338"/>
              <a:gd name="connsiteY82" fmla="*/ 4136220 h 5003860"/>
              <a:gd name="connsiteX83" fmla="*/ 2746455 w 5494338"/>
              <a:gd name="connsiteY83" fmla="*/ 4074772 h 5003860"/>
              <a:gd name="connsiteX84" fmla="*/ 2746455 w 5494338"/>
              <a:gd name="connsiteY84" fmla="*/ 4073343 h 5003860"/>
              <a:gd name="connsiteX85" fmla="*/ 2623564 w 5494338"/>
              <a:gd name="connsiteY85" fmla="*/ 3630347 h 5003860"/>
              <a:gd name="connsiteX86" fmla="*/ 2302049 w 5494338"/>
              <a:gd name="connsiteY86" fmla="*/ 3301672 h 5003860"/>
              <a:gd name="connsiteX87" fmla="*/ 2276328 w 5494338"/>
              <a:gd name="connsiteY87" fmla="*/ 3287382 h 5003860"/>
              <a:gd name="connsiteX88" fmla="*/ 1376085 w 5494338"/>
              <a:gd name="connsiteY88" fmla="*/ 3293098 h 5003860"/>
              <a:gd name="connsiteX89" fmla="*/ 1373227 w 5494338"/>
              <a:gd name="connsiteY89" fmla="*/ 3294527 h 5003860"/>
              <a:gd name="connsiteX90" fmla="*/ 1326072 w 5494338"/>
              <a:gd name="connsiteY90" fmla="*/ 3320249 h 5003860"/>
              <a:gd name="connsiteX91" fmla="*/ 1304638 w 5494338"/>
              <a:gd name="connsiteY91" fmla="*/ 3330252 h 5003860"/>
              <a:gd name="connsiteX92" fmla="*/ 1283203 w 5494338"/>
              <a:gd name="connsiteY92" fmla="*/ 3340256 h 5003860"/>
              <a:gd name="connsiteX93" fmla="*/ 1263198 w 5494338"/>
              <a:gd name="connsiteY93" fmla="*/ 3348830 h 5003860"/>
              <a:gd name="connsiteX94" fmla="*/ 1241763 w 5494338"/>
              <a:gd name="connsiteY94" fmla="*/ 3357404 h 5003860"/>
              <a:gd name="connsiteX95" fmla="*/ 1220329 w 5494338"/>
              <a:gd name="connsiteY95" fmla="*/ 3365978 h 5003860"/>
              <a:gd name="connsiteX96" fmla="*/ 1198895 w 5494338"/>
              <a:gd name="connsiteY96" fmla="*/ 3373123 h 5003860"/>
              <a:gd name="connsiteX97" fmla="*/ 857374 w 5494338"/>
              <a:gd name="connsiteY97" fmla="*/ 3415994 h 5003860"/>
              <a:gd name="connsiteX98" fmla="*/ 834511 w 5494338"/>
              <a:gd name="connsiteY98" fmla="*/ 3414565 h 5003860"/>
              <a:gd name="connsiteX99" fmla="*/ 814505 w 5494338"/>
              <a:gd name="connsiteY99" fmla="*/ 3411707 h 5003860"/>
              <a:gd name="connsiteX100" fmla="*/ 813076 w 5494338"/>
              <a:gd name="connsiteY100" fmla="*/ 3411707 h 5003860"/>
              <a:gd name="connsiteX101" fmla="*/ 793071 w 5494338"/>
              <a:gd name="connsiteY101" fmla="*/ 3408849 h 5003860"/>
              <a:gd name="connsiteX102" fmla="*/ 791642 w 5494338"/>
              <a:gd name="connsiteY102" fmla="*/ 3408849 h 5003860"/>
              <a:gd name="connsiteX103" fmla="*/ 778782 w 5494338"/>
              <a:gd name="connsiteY103" fmla="*/ 3407419 h 5003860"/>
              <a:gd name="connsiteX104" fmla="*/ 777353 w 5494338"/>
              <a:gd name="connsiteY104" fmla="*/ 3407419 h 5003860"/>
              <a:gd name="connsiteX105" fmla="*/ 771637 w 5494338"/>
              <a:gd name="connsiteY105" fmla="*/ 3405990 h 5003860"/>
              <a:gd name="connsiteX106" fmla="*/ 768779 w 5494338"/>
              <a:gd name="connsiteY106" fmla="*/ 3405990 h 5003860"/>
              <a:gd name="connsiteX107" fmla="*/ 760205 w 5494338"/>
              <a:gd name="connsiteY107" fmla="*/ 3404561 h 5003860"/>
              <a:gd name="connsiteX108" fmla="*/ 755918 w 5494338"/>
              <a:gd name="connsiteY108" fmla="*/ 3403132 h 5003860"/>
              <a:gd name="connsiteX109" fmla="*/ 751631 w 5494338"/>
              <a:gd name="connsiteY109" fmla="*/ 3403132 h 5003860"/>
              <a:gd name="connsiteX110" fmla="*/ 745915 w 5494338"/>
              <a:gd name="connsiteY110" fmla="*/ 3401703 h 5003860"/>
              <a:gd name="connsiteX111" fmla="*/ 740200 w 5494338"/>
              <a:gd name="connsiteY111" fmla="*/ 3400274 h 5003860"/>
              <a:gd name="connsiteX112" fmla="*/ 734484 w 5494338"/>
              <a:gd name="connsiteY112" fmla="*/ 3398845 h 5003860"/>
              <a:gd name="connsiteX113" fmla="*/ 730197 w 5494338"/>
              <a:gd name="connsiteY113" fmla="*/ 3398845 h 5003860"/>
              <a:gd name="connsiteX114" fmla="*/ 724481 w 5494338"/>
              <a:gd name="connsiteY114" fmla="*/ 3397416 h 5003860"/>
              <a:gd name="connsiteX115" fmla="*/ 720194 w 5494338"/>
              <a:gd name="connsiteY115" fmla="*/ 3395987 h 5003860"/>
              <a:gd name="connsiteX116" fmla="*/ 711621 w 5494338"/>
              <a:gd name="connsiteY116" fmla="*/ 3394558 h 5003860"/>
              <a:gd name="connsiteX117" fmla="*/ 708763 w 5494338"/>
              <a:gd name="connsiteY117" fmla="*/ 3393129 h 5003860"/>
              <a:gd name="connsiteX118" fmla="*/ 701618 w 5494338"/>
              <a:gd name="connsiteY118" fmla="*/ 3391700 h 5003860"/>
              <a:gd name="connsiteX119" fmla="*/ 700189 w 5494338"/>
              <a:gd name="connsiteY119" fmla="*/ 3391700 h 5003860"/>
              <a:gd name="connsiteX120" fmla="*/ 690186 w 5494338"/>
              <a:gd name="connsiteY120" fmla="*/ 3388842 h 5003860"/>
              <a:gd name="connsiteX121" fmla="*/ 688757 w 5494338"/>
              <a:gd name="connsiteY121" fmla="*/ 3388842 h 5003860"/>
              <a:gd name="connsiteX122" fmla="*/ 668752 w 5494338"/>
              <a:gd name="connsiteY122" fmla="*/ 3383126 h 5003860"/>
              <a:gd name="connsiteX123" fmla="*/ 667323 w 5494338"/>
              <a:gd name="connsiteY123" fmla="*/ 3383126 h 5003860"/>
              <a:gd name="connsiteX124" fmla="*/ 647317 w 5494338"/>
              <a:gd name="connsiteY124" fmla="*/ 3377410 h 5003860"/>
              <a:gd name="connsiteX125" fmla="*/ 470127 w 5494338"/>
              <a:gd name="connsiteY125" fmla="*/ 3301672 h 5003860"/>
              <a:gd name="connsiteX126" fmla="*/ 468698 w 5494338"/>
              <a:gd name="connsiteY126" fmla="*/ 3301672 h 5003860"/>
              <a:gd name="connsiteX127" fmla="*/ 432974 w 5494338"/>
              <a:gd name="connsiteY127" fmla="*/ 3280237 h 5003860"/>
              <a:gd name="connsiteX128" fmla="*/ 431545 w 5494338"/>
              <a:gd name="connsiteY128" fmla="*/ 3278808 h 5003860"/>
              <a:gd name="connsiteX129" fmla="*/ 424400 w 5494338"/>
              <a:gd name="connsiteY129" fmla="*/ 3274521 h 5003860"/>
              <a:gd name="connsiteX130" fmla="*/ 418684 w 5494338"/>
              <a:gd name="connsiteY130" fmla="*/ 3271663 h 5003860"/>
              <a:gd name="connsiteX131" fmla="*/ 417255 w 5494338"/>
              <a:gd name="connsiteY131" fmla="*/ 3270234 h 5003860"/>
              <a:gd name="connsiteX132" fmla="*/ 122891 w 5494338"/>
              <a:gd name="connsiteY132" fmla="*/ 2960136 h 5003860"/>
              <a:gd name="connsiteX133" fmla="*/ 0 w 5494338"/>
              <a:gd name="connsiteY133" fmla="*/ 2517140 h 5003860"/>
              <a:gd name="connsiteX134" fmla="*/ 0 w 5494338"/>
              <a:gd name="connsiteY134" fmla="*/ 2488560 h 5003860"/>
              <a:gd name="connsiteX135" fmla="*/ 0 w 5494338"/>
              <a:gd name="connsiteY135" fmla="*/ 2487131 h 5003860"/>
              <a:gd name="connsiteX136" fmla="*/ 131464 w 5494338"/>
              <a:gd name="connsiteY136" fmla="*/ 2028415 h 5003860"/>
              <a:gd name="connsiteX137" fmla="*/ 1030278 w 5494338"/>
              <a:gd name="connsiteY137" fmla="*/ 470784 h 5003860"/>
              <a:gd name="connsiteX138" fmla="*/ 1033136 w 5494338"/>
              <a:gd name="connsiteY138" fmla="*/ 467926 h 5003860"/>
              <a:gd name="connsiteX139" fmla="*/ 1034565 w 5494338"/>
              <a:gd name="connsiteY139" fmla="*/ 465068 h 5003860"/>
              <a:gd name="connsiteX140" fmla="*/ 1038852 w 5494338"/>
              <a:gd name="connsiteY140" fmla="*/ 456494 h 5003860"/>
              <a:gd name="connsiteX141" fmla="*/ 1040281 w 5494338"/>
              <a:gd name="connsiteY141" fmla="*/ 453635 h 5003860"/>
              <a:gd name="connsiteX142" fmla="*/ 1043138 w 5494338"/>
              <a:gd name="connsiteY142" fmla="*/ 447919 h 5003860"/>
              <a:gd name="connsiteX143" fmla="*/ 1045996 w 5494338"/>
              <a:gd name="connsiteY143" fmla="*/ 445061 h 5003860"/>
              <a:gd name="connsiteX144" fmla="*/ 1050283 w 5494338"/>
              <a:gd name="connsiteY144" fmla="*/ 437916 h 5003860"/>
              <a:gd name="connsiteX145" fmla="*/ 1051712 w 5494338"/>
              <a:gd name="connsiteY145" fmla="*/ 435058 h 5003860"/>
              <a:gd name="connsiteX146" fmla="*/ 1054570 w 5494338"/>
              <a:gd name="connsiteY146" fmla="*/ 429342 h 5003860"/>
              <a:gd name="connsiteX147" fmla="*/ 1057428 w 5494338"/>
              <a:gd name="connsiteY147" fmla="*/ 426484 h 5003860"/>
              <a:gd name="connsiteX148" fmla="*/ 1061715 w 5494338"/>
              <a:gd name="connsiteY148" fmla="*/ 419339 h 5003860"/>
              <a:gd name="connsiteX149" fmla="*/ 1063144 w 5494338"/>
              <a:gd name="connsiteY149" fmla="*/ 416481 h 5003860"/>
              <a:gd name="connsiteX150" fmla="*/ 1067431 w 5494338"/>
              <a:gd name="connsiteY150" fmla="*/ 410765 h 5003860"/>
              <a:gd name="connsiteX151" fmla="*/ 1068860 w 5494338"/>
              <a:gd name="connsiteY151" fmla="*/ 407907 h 5003860"/>
              <a:gd name="connsiteX152" fmla="*/ 1074576 w 5494338"/>
              <a:gd name="connsiteY152" fmla="*/ 400762 h 5003860"/>
              <a:gd name="connsiteX153" fmla="*/ 1076004 w 5494338"/>
              <a:gd name="connsiteY153" fmla="*/ 397904 h 5003860"/>
              <a:gd name="connsiteX154" fmla="*/ 1080291 w 5494338"/>
              <a:gd name="connsiteY154" fmla="*/ 392188 h 5003860"/>
              <a:gd name="connsiteX155" fmla="*/ 1081720 w 5494338"/>
              <a:gd name="connsiteY155" fmla="*/ 389330 h 5003860"/>
              <a:gd name="connsiteX156" fmla="*/ 1087436 w 5494338"/>
              <a:gd name="connsiteY156" fmla="*/ 382185 h 5003860"/>
              <a:gd name="connsiteX157" fmla="*/ 1088865 w 5494338"/>
              <a:gd name="connsiteY157" fmla="*/ 379326 h 5003860"/>
              <a:gd name="connsiteX158" fmla="*/ 1093152 w 5494338"/>
              <a:gd name="connsiteY158" fmla="*/ 373610 h 5003860"/>
              <a:gd name="connsiteX159" fmla="*/ 1094581 w 5494338"/>
              <a:gd name="connsiteY159" fmla="*/ 372181 h 5003860"/>
              <a:gd name="connsiteX160" fmla="*/ 1100297 w 5494338"/>
              <a:gd name="connsiteY160" fmla="*/ 365036 h 5003860"/>
              <a:gd name="connsiteX161" fmla="*/ 1101726 w 5494338"/>
              <a:gd name="connsiteY161" fmla="*/ 362178 h 5003860"/>
              <a:gd name="connsiteX162" fmla="*/ 1107442 w 5494338"/>
              <a:gd name="connsiteY162" fmla="*/ 353604 h 5003860"/>
              <a:gd name="connsiteX163" fmla="*/ 1113157 w 5494338"/>
              <a:gd name="connsiteY163" fmla="*/ 346459 h 5003860"/>
              <a:gd name="connsiteX164" fmla="*/ 1114586 w 5494338"/>
              <a:gd name="connsiteY164" fmla="*/ 345030 h 5003860"/>
              <a:gd name="connsiteX165" fmla="*/ 1127447 w 5494338"/>
              <a:gd name="connsiteY165" fmla="*/ 329311 h 5003860"/>
              <a:gd name="connsiteX166" fmla="*/ 1128876 w 5494338"/>
              <a:gd name="connsiteY166" fmla="*/ 327882 h 5003860"/>
              <a:gd name="connsiteX167" fmla="*/ 1143165 w 5494338"/>
              <a:gd name="connsiteY167" fmla="*/ 312163 h 5003860"/>
              <a:gd name="connsiteX168" fmla="*/ 1143165 w 5494338"/>
              <a:gd name="connsiteY168" fmla="*/ 310734 h 5003860"/>
              <a:gd name="connsiteX169" fmla="*/ 1157455 w 5494338"/>
              <a:gd name="connsiteY169" fmla="*/ 295014 h 5003860"/>
              <a:gd name="connsiteX170" fmla="*/ 1158884 w 5494338"/>
              <a:gd name="connsiteY170" fmla="*/ 293585 h 5003860"/>
              <a:gd name="connsiteX171" fmla="*/ 1173174 w 5494338"/>
              <a:gd name="connsiteY171" fmla="*/ 277866 h 5003860"/>
              <a:gd name="connsiteX172" fmla="*/ 1373227 w 5494338"/>
              <a:gd name="connsiteY172" fmla="*/ 122103 h 5003860"/>
              <a:gd name="connsiteX173" fmla="*/ 1543273 w 5494338"/>
              <a:gd name="connsiteY173" fmla="*/ 46365 h 5003860"/>
              <a:gd name="connsiteX174" fmla="*/ 1553276 w 5494338"/>
              <a:gd name="connsiteY174" fmla="*/ 43507 h 5003860"/>
              <a:gd name="connsiteX175" fmla="*/ 1563279 w 5494338"/>
              <a:gd name="connsiteY175" fmla="*/ 39220 h 5003860"/>
              <a:gd name="connsiteX176" fmla="*/ 1564708 w 5494338"/>
              <a:gd name="connsiteY176" fmla="*/ 39220 h 5003860"/>
              <a:gd name="connsiteX177" fmla="*/ 1574710 w 5494338"/>
              <a:gd name="connsiteY177" fmla="*/ 36362 h 5003860"/>
              <a:gd name="connsiteX178" fmla="*/ 1576139 w 5494338"/>
              <a:gd name="connsiteY178" fmla="*/ 36362 h 5003860"/>
              <a:gd name="connsiteX179" fmla="*/ 1584713 w 5494338"/>
              <a:gd name="connsiteY179" fmla="*/ 33504 h 5003860"/>
              <a:gd name="connsiteX180" fmla="*/ 1587571 w 5494338"/>
              <a:gd name="connsiteY180" fmla="*/ 33504 h 5003860"/>
              <a:gd name="connsiteX181" fmla="*/ 1596145 w 5494338"/>
              <a:gd name="connsiteY181" fmla="*/ 30646 h 5003860"/>
              <a:gd name="connsiteX182" fmla="*/ 1597574 w 5494338"/>
              <a:gd name="connsiteY182" fmla="*/ 30646 h 5003860"/>
              <a:gd name="connsiteX183" fmla="*/ 1607576 w 5494338"/>
              <a:gd name="connsiteY183" fmla="*/ 27788 h 5003860"/>
              <a:gd name="connsiteX184" fmla="*/ 1609005 w 5494338"/>
              <a:gd name="connsiteY184" fmla="*/ 27788 h 5003860"/>
              <a:gd name="connsiteX185" fmla="*/ 1617579 w 5494338"/>
              <a:gd name="connsiteY185" fmla="*/ 24930 h 5003860"/>
              <a:gd name="connsiteX186" fmla="*/ 1619008 w 5494338"/>
              <a:gd name="connsiteY186" fmla="*/ 24930 h 5003860"/>
              <a:gd name="connsiteX187" fmla="*/ 1629011 w 5494338"/>
              <a:gd name="connsiteY187" fmla="*/ 22072 h 5003860"/>
              <a:gd name="connsiteX188" fmla="*/ 1631869 w 5494338"/>
              <a:gd name="connsiteY188" fmla="*/ 22072 h 5003860"/>
              <a:gd name="connsiteX189" fmla="*/ 1636155 w 5494338"/>
              <a:gd name="connsiteY189" fmla="*/ 20643 h 5003860"/>
              <a:gd name="connsiteX190" fmla="*/ 1639013 w 5494338"/>
              <a:gd name="connsiteY190" fmla="*/ 20643 h 5003860"/>
              <a:gd name="connsiteX191" fmla="*/ 1641871 w 5494338"/>
              <a:gd name="connsiteY191" fmla="*/ 19213 h 5003860"/>
              <a:gd name="connsiteX192" fmla="*/ 1643300 w 5494338"/>
              <a:gd name="connsiteY192" fmla="*/ 19213 h 5003860"/>
              <a:gd name="connsiteX193" fmla="*/ 1650445 w 5494338"/>
              <a:gd name="connsiteY193" fmla="*/ 17784 h 5003860"/>
              <a:gd name="connsiteX194" fmla="*/ 1654732 w 5494338"/>
              <a:gd name="connsiteY194" fmla="*/ 17784 h 5003860"/>
              <a:gd name="connsiteX195" fmla="*/ 1657590 w 5494338"/>
              <a:gd name="connsiteY195" fmla="*/ 16355 h 5003860"/>
              <a:gd name="connsiteX196" fmla="*/ 1660448 w 5494338"/>
              <a:gd name="connsiteY196" fmla="*/ 16355 h 5003860"/>
              <a:gd name="connsiteX197" fmla="*/ 1664735 w 5494338"/>
              <a:gd name="connsiteY197" fmla="*/ 14926 h 5003860"/>
              <a:gd name="connsiteX198" fmla="*/ 1666164 w 5494338"/>
              <a:gd name="connsiteY198" fmla="*/ 14926 h 5003860"/>
              <a:gd name="connsiteX199" fmla="*/ 1671879 w 5494338"/>
              <a:gd name="connsiteY199" fmla="*/ 13497 h 5003860"/>
              <a:gd name="connsiteX200" fmla="*/ 1676166 w 5494338"/>
              <a:gd name="connsiteY200" fmla="*/ 13497 h 5003860"/>
              <a:gd name="connsiteX201" fmla="*/ 1679024 w 5494338"/>
              <a:gd name="connsiteY201" fmla="*/ 12068 h 5003860"/>
              <a:gd name="connsiteX202" fmla="*/ 1681882 w 5494338"/>
              <a:gd name="connsiteY202" fmla="*/ 12068 h 5003860"/>
              <a:gd name="connsiteX203" fmla="*/ 1687598 w 5494338"/>
              <a:gd name="connsiteY203" fmla="*/ 10639 h 5003860"/>
              <a:gd name="connsiteX204" fmla="*/ 1689027 w 5494338"/>
              <a:gd name="connsiteY204" fmla="*/ 10639 h 5003860"/>
              <a:gd name="connsiteX205" fmla="*/ 1693314 w 5494338"/>
              <a:gd name="connsiteY205" fmla="*/ 10639 h 5003860"/>
              <a:gd name="connsiteX206" fmla="*/ 1699030 w 5494338"/>
              <a:gd name="connsiteY206" fmla="*/ 9210 h 5003860"/>
              <a:gd name="connsiteX207" fmla="*/ 1701887 w 5494338"/>
              <a:gd name="connsiteY207" fmla="*/ 9210 h 5003860"/>
              <a:gd name="connsiteX208" fmla="*/ 1703316 w 5494338"/>
              <a:gd name="connsiteY208" fmla="*/ 9210 h 5003860"/>
              <a:gd name="connsiteX209" fmla="*/ 1710461 w 5494338"/>
              <a:gd name="connsiteY209" fmla="*/ 7781 h 5003860"/>
              <a:gd name="connsiteX210" fmla="*/ 1711890 w 5494338"/>
              <a:gd name="connsiteY210" fmla="*/ 7781 h 5003860"/>
              <a:gd name="connsiteX211" fmla="*/ 1713319 w 5494338"/>
              <a:gd name="connsiteY211" fmla="*/ 7781 h 5003860"/>
              <a:gd name="connsiteX212" fmla="*/ 1714748 w 5494338"/>
              <a:gd name="connsiteY212" fmla="*/ 7781 h 5003860"/>
              <a:gd name="connsiteX213" fmla="*/ 1721893 w 5494338"/>
              <a:gd name="connsiteY213" fmla="*/ 6352 h 5003860"/>
              <a:gd name="connsiteX214" fmla="*/ 1723322 w 5494338"/>
              <a:gd name="connsiteY214" fmla="*/ 6352 h 5003860"/>
              <a:gd name="connsiteX215" fmla="*/ 1724751 w 5494338"/>
              <a:gd name="connsiteY215" fmla="*/ 6352 h 5003860"/>
              <a:gd name="connsiteX216" fmla="*/ 1726180 w 5494338"/>
              <a:gd name="connsiteY216" fmla="*/ 6352 h 5003860"/>
              <a:gd name="connsiteX217" fmla="*/ 1733325 w 5494338"/>
              <a:gd name="connsiteY217" fmla="*/ 4923 h 5003860"/>
              <a:gd name="connsiteX218" fmla="*/ 1734753 w 5494338"/>
              <a:gd name="connsiteY218" fmla="*/ 4923 h 5003860"/>
              <a:gd name="connsiteX219" fmla="*/ 1736182 w 5494338"/>
              <a:gd name="connsiteY219" fmla="*/ 4923 h 5003860"/>
              <a:gd name="connsiteX220" fmla="*/ 1744756 w 5494338"/>
              <a:gd name="connsiteY220" fmla="*/ 3494 h 5003860"/>
              <a:gd name="connsiteX221" fmla="*/ 1756188 w 5494338"/>
              <a:gd name="connsiteY221" fmla="*/ 3494 h 5003860"/>
              <a:gd name="connsiteX222" fmla="*/ 1759046 w 5494338"/>
              <a:gd name="connsiteY222" fmla="*/ 3494 h 5003860"/>
              <a:gd name="connsiteX223" fmla="*/ 1779051 w 5494338"/>
              <a:gd name="connsiteY223" fmla="*/ 2065 h 5003860"/>
              <a:gd name="connsiteX224" fmla="*/ 1801914 w 5494338"/>
              <a:gd name="connsiteY224" fmla="*/ 636 h 500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5494338" h="5003860">
                <a:moveTo>
                  <a:pt x="1801914" y="636"/>
                </a:moveTo>
                <a:cubicBezTo>
                  <a:pt x="1816204" y="636"/>
                  <a:pt x="1831923" y="-793"/>
                  <a:pt x="1846212" y="636"/>
                </a:cubicBezTo>
                <a:cubicBezTo>
                  <a:pt x="2740739" y="636"/>
                  <a:pt x="2752170" y="636"/>
                  <a:pt x="3645268" y="636"/>
                </a:cubicBezTo>
                <a:cubicBezTo>
                  <a:pt x="3806740" y="-2222"/>
                  <a:pt x="3966784" y="37791"/>
                  <a:pt x="4108250" y="114958"/>
                </a:cubicBezTo>
                <a:cubicBezTo>
                  <a:pt x="4108250" y="114958"/>
                  <a:pt x="4108250" y="116387"/>
                  <a:pt x="4108250" y="116387"/>
                </a:cubicBezTo>
                <a:cubicBezTo>
                  <a:pt x="4126827" y="126390"/>
                  <a:pt x="4145403" y="136393"/>
                  <a:pt x="4163980" y="149254"/>
                </a:cubicBezTo>
                <a:cubicBezTo>
                  <a:pt x="4163980" y="149254"/>
                  <a:pt x="4165409" y="150683"/>
                  <a:pt x="4166837" y="152112"/>
                </a:cubicBezTo>
                <a:cubicBezTo>
                  <a:pt x="4168266" y="152112"/>
                  <a:pt x="4169695" y="152112"/>
                  <a:pt x="4169695" y="153541"/>
                </a:cubicBezTo>
                <a:cubicBezTo>
                  <a:pt x="4171124" y="153541"/>
                  <a:pt x="4171124" y="154970"/>
                  <a:pt x="4172553" y="154970"/>
                </a:cubicBezTo>
                <a:cubicBezTo>
                  <a:pt x="4173982" y="156399"/>
                  <a:pt x="4175411" y="156399"/>
                  <a:pt x="4176840" y="157828"/>
                </a:cubicBezTo>
                <a:cubicBezTo>
                  <a:pt x="4176840" y="157828"/>
                  <a:pt x="4178269" y="157828"/>
                  <a:pt x="4178269" y="159257"/>
                </a:cubicBezTo>
                <a:cubicBezTo>
                  <a:pt x="4288299" y="233566"/>
                  <a:pt x="4384039" y="335027"/>
                  <a:pt x="4455487" y="457923"/>
                </a:cubicBezTo>
                <a:cubicBezTo>
                  <a:pt x="4455487" y="457923"/>
                  <a:pt x="4455487" y="457923"/>
                  <a:pt x="5371448" y="2044135"/>
                </a:cubicBezTo>
                <a:cubicBezTo>
                  <a:pt x="5437180" y="2158456"/>
                  <a:pt x="5475762" y="2281352"/>
                  <a:pt x="5488622" y="2404248"/>
                </a:cubicBezTo>
                <a:cubicBezTo>
                  <a:pt x="5488622" y="2404248"/>
                  <a:pt x="5488622" y="2404248"/>
                  <a:pt x="5488622" y="2405677"/>
                </a:cubicBezTo>
                <a:cubicBezTo>
                  <a:pt x="5488622" y="2407106"/>
                  <a:pt x="5490051" y="2408535"/>
                  <a:pt x="5490051" y="2411393"/>
                </a:cubicBezTo>
                <a:cubicBezTo>
                  <a:pt x="5490051" y="2411393"/>
                  <a:pt x="5490051" y="2412822"/>
                  <a:pt x="5490051" y="2414251"/>
                </a:cubicBezTo>
                <a:cubicBezTo>
                  <a:pt x="5490051" y="2415680"/>
                  <a:pt x="5490051" y="2417109"/>
                  <a:pt x="5490051" y="2417109"/>
                </a:cubicBezTo>
                <a:cubicBezTo>
                  <a:pt x="5490051" y="2418538"/>
                  <a:pt x="5490051" y="2421396"/>
                  <a:pt x="5490051" y="2422825"/>
                </a:cubicBezTo>
                <a:cubicBezTo>
                  <a:pt x="5490051" y="2422825"/>
                  <a:pt x="5490051" y="2424254"/>
                  <a:pt x="5491480" y="2424254"/>
                </a:cubicBezTo>
                <a:cubicBezTo>
                  <a:pt x="5492909" y="2454263"/>
                  <a:pt x="5494338" y="2485702"/>
                  <a:pt x="5494338" y="2515711"/>
                </a:cubicBezTo>
                <a:cubicBezTo>
                  <a:pt x="5492909" y="2538575"/>
                  <a:pt x="5492909" y="2562869"/>
                  <a:pt x="5490051" y="2585733"/>
                </a:cubicBezTo>
                <a:cubicBezTo>
                  <a:pt x="5490051" y="2587162"/>
                  <a:pt x="5490051" y="2590020"/>
                  <a:pt x="5490051" y="2592878"/>
                </a:cubicBezTo>
                <a:cubicBezTo>
                  <a:pt x="5488622" y="2595736"/>
                  <a:pt x="5488622" y="2597165"/>
                  <a:pt x="5488622" y="2600023"/>
                </a:cubicBezTo>
                <a:cubicBezTo>
                  <a:pt x="5488622" y="2602881"/>
                  <a:pt x="5488622" y="2604310"/>
                  <a:pt x="5487193" y="2607168"/>
                </a:cubicBezTo>
                <a:cubicBezTo>
                  <a:pt x="5487193" y="2607168"/>
                  <a:pt x="5487193" y="2607168"/>
                  <a:pt x="5487193" y="2608597"/>
                </a:cubicBezTo>
                <a:cubicBezTo>
                  <a:pt x="5487193" y="2610026"/>
                  <a:pt x="5487193" y="2611455"/>
                  <a:pt x="5487193" y="2614313"/>
                </a:cubicBezTo>
                <a:cubicBezTo>
                  <a:pt x="5487193" y="2614313"/>
                  <a:pt x="5487193" y="2615742"/>
                  <a:pt x="5487193" y="2615742"/>
                </a:cubicBezTo>
                <a:cubicBezTo>
                  <a:pt x="5487193" y="2617172"/>
                  <a:pt x="5485764" y="2618601"/>
                  <a:pt x="5485764" y="2621459"/>
                </a:cubicBezTo>
                <a:cubicBezTo>
                  <a:pt x="5485764" y="2621459"/>
                  <a:pt x="5485764" y="2622888"/>
                  <a:pt x="5485764" y="2622888"/>
                </a:cubicBezTo>
                <a:cubicBezTo>
                  <a:pt x="5485764" y="2624317"/>
                  <a:pt x="5485764" y="2627175"/>
                  <a:pt x="5485764" y="2628604"/>
                </a:cubicBezTo>
                <a:cubicBezTo>
                  <a:pt x="5484336" y="2628604"/>
                  <a:pt x="5484336" y="2630033"/>
                  <a:pt x="5484336" y="2630033"/>
                </a:cubicBezTo>
                <a:cubicBezTo>
                  <a:pt x="5484336" y="2632891"/>
                  <a:pt x="5484336" y="2634320"/>
                  <a:pt x="5484336" y="2635749"/>
                </a:cubicBezTo>
                <a:cubicBezTo>
                  <a:pt x="5484336" y="2635749"/>
                  <a:pt x="5484336" y="2637178"/>
                  <a:pt x="5484336" y="2638607"/>
                </a:cubicBezTo>
                <a:cubicBezTo>
                  <a:pt x="5482906" y="2640036"/>
                  <a:pt x="5482906" y="2641465"/>
                  <a:pt x="5482906" y="2642894"/>
                </a:cubicBezTo>
                <a:cubicBezTo>
                  <a:pt x="5482906" y="2642894"/>
                  <a:pt x="5482906" y="2644323"/>
                  <a:pt x="5482906" y="2645752"/>
                </a:cubicBezTo>
                <a:cubicBezTo>
                  <a:pt x="5482906" y="2647181"/>
                  <a:pt x="5481478" y="2648610"/>
                  <a:pt x="5481478" y="2650039"/>
                </a:cubicBezTo>
                <a:cubicBezTo>
                  <a:pt x="5481478" y="2650039"/>
                  <a:pt x="5481478" y="2651468"/>
                  <a:pt x="5481478" y="2652897"/>
                </a:cubicBezTo>
                <a:cubicBezTo>
                  <a:pt x="5481478" y="2654326"/>
                  <a:pt x="5481478" y="2655755"/>
                  <a:pt x="5481478" y="2655755"/>
                </a:cubicBezTo>
                <a:cubicBezTo>
                  <a:pt x="5480048" y="2657184"/>
                  <a:pt x="5480048" y="2658613"/>
                  <a:pt x="5480048" y="2660042"/>
                </a:cubicBezTo>
                <a:cubicBezTo>
                  <a:pt x="5480048" y="2661471"/>
                  <a:pt x="5480048" y="2661471"/>
                  <a:pt x="5480048" y="2662900"/>
                </a:cubicBezTo>
                <a:cubicBezTo>
                  <a:pt x="5478620" y="2664329"/>
                  <a:pt x="5478620" y="2665758"/>
                  <a:pt x="5478620" y="2667187"/>
                </a:cubicBezTo>
                <a:cubicBezTo>
                  <a:pt x="5478620" y="2668616"/>
                  <a:pt x="5478620" y="2668616"/>
                  <a:pt x="5478620" y="2668616"/>
                </a:cubicBezTo>
                <a:cubicBezTo>
                  <a:pt x="5458614" y="2775793"/>
                  <a:pt x="5420033" y="2880111"/>
                  <a:pt x="5362874" y="2974426"/>
                </a:cubicBezTo>
                <a:cubicBezTo>
                  <a:pt x="4915611" y="3748955"/>
                  <a:pt x="4909895" y="3757529"/>
                  <a:pt x="4462632" y="4532058"/>
                </a:cubicBezTo>
                <a:cubicBezTo>
                  <a:pt x="4385468" y="4673531"/>
                  <a:pt x="4269722" y="4794998"/>
                  <a:pt x="4121111" y="4880739"/>
                </a:cubicBezTo>
                <a:cubicBezTo>
                  <a:pt x="3885333" y="5016496"/>
                  <a:pt x="3615260" y="5036502"/>
                  <a:pt x="3376624" y="4957906"/>
                </a:cubicBezTo>
                <a:cubicBezTo>
                  <a:pt x="3370909" y="4955048"/>
                  <a:pt x="3363764" y="4953619"/>
                  <a:pt x="3358048" y="4950761"/>
                </a:cubicBezTo>
                <a:cubicBezTo>
                  <a:pt x="3356619" y="4950761"/>
                  <a:pt x="3356619" y="4950761"/>
                  <a:pt x="3355190" y="4950761"/>
                </a:cubicBezTo>
                <a:cubicBezTo>
                  <a:pt x="3353761" y="4949332"/>
                  <a:pt x="3350903" y="4949332"/>
                  <a:pt x="3349474" y="4947903"/>
                </a:cubicBezTo>
                <a:cubicBezTo>
                  <a:pt x="3349474" y="4947903"/>
                  <a:pt x="3349474" y="4947903"/>
                  <a:pt x="3348045" y="4947903"/>
                </a:cubicBezTo>
                <a:cubicBezTo>
                  <a:pt x="3345187" y="4946474"/>
                  <a:pt x="3340901" y="4945045"/>
                  <a:pt x="3338043" y="4943616"/>
                </a:cubicBezTo>
                <a:cubicBezTo>
                  <a:pt x="3336614" y="4943616"/>
                  <a:pt x="3335185" y="4943616"/>
                  <a:pt x="3335185" y="4942187"/>
                </a:cubicBezTo>
                <a:cubicBezTo>
                  <a:pt x="3332327" y="4942187"/>
                  <a:pt x="3330898" y="4940758"/>
                  <a:pt x="3329469" y="4940758"/>
                </a:cubicBezTo>
                <a:cubicBezTo>
                  <a:pt x="3328040" y="4940758"/>
                  <a:pt x="3326611" y="4939329"/>
                  <a:pt x="3325182" y="4939329"/>
                </a:cubicBezTo>
                <a:cubicBezTo>
                  <a:pt x="3322324" y="4937900"/>
                  <a:pt x="3320895" y="4937900"/>
                  <a:pt x="3318037" y="4936471"/>
                </a:cubicBezTo>
                <a:cubicBezTo>
                  <a:pt x="3316608" y="4935042"/>
                  <a:pt x="3315179" y="4935042"/>
                  <a:pt x="3313750" y="4935042"/>
                </a:cubicBezTo>
                <a:cubicBezTo>
                  <a:pt x="3312321" y="4933613"/>
                  <a:pt x="3310892" y="4933613"/>
                  <a:pt x="3309464" y="4932184"/>
                </a:cubicBezTo>
                <a:cubicBezTo>
                  <a:pt x="3306606" y="4932184"/>
                  <a:pt x="3305177" y="4930755"/>
                  <a:pt x="3302319" y="4929326"/>
                </a:cubicBezTo>
                <a:cubicBezTo>
                  <a:pt x="3300890" y="4929326"/>
                  <a:pt x="3299461" y="4929326"/>
                  <a:pt x="3299461" y="4927897"/>
                </a:cubicBezTo>
                <a:cubicBezTo>
                  <a:pt x="3296603" y="4927897"/>
                  <a:pt x="3295174" y="4926468"/>
                  <a:pt x="3292316" y="4925039"/>
                </a:cubicBezTo>
                <a:cubicBezTo>
                  <a:pt x="3292316" y="4925039"/>
                  <a:pt x="3290887" y="4925039"/>
                  <a:pt x="3289458" y="4923610"/>
                </a:cubicBezTo>
                <a:cubicBezTo>
                  <a:pt x="3286600" y="4923610"/>
                  <a:pt x="3283742" y="4922181"/>
                  <a:pt x="3282313" y="4920752"/>
                </a:cubicBezTo>
                <a:cubicBezTo>
                  <a:pt x="3280884" y="4920752"/>
                  <a:pt x="3280884" y="4919323"/>
                  <a:pt x="3279455" y="4919323"/>
                </a:cubicBezTo>
                <a:cubicBezTo>
                  <a:pt x="3276598" y="4917894"/>
                  <a:pt x="3275169" y="4917894"/>
                  <a:pt x="3272311" y="4916465"/>
                </a:cubicBezTo>
                <a:cubicBezTo>
                  <a:pt x="3270882" y="4916465"/>
                  <a:pt x="3270882" y="4915036"/>
                  <a:pt x="3270882" y="4915036"/>
                </a:cubicBezTo>
                <a:cubicBezTo>
                  <a:pt x="3266595" y="4913607"/>
                  <a:pt x="3263737" y="4912178"/>
                  <a:pt x="3260879" y="4910749"/>
                </a:cubicBezTo>
                <a:cubicBezTo>
                  <a:pt x="3258021" y="4909319"/>
                  <a:pt x="3253734" y="4907890"/>
                  <a:pt x="3250876" y="4906461"/>
                </a:cubicBezTo>
                <a:cubicBezTo>
                  <a:pt x="3248018" y="4903603"/>
                  <a:pt x="3245160" y="4902174"/>
                  <a:pt x="3240874" y="4900745"/>
                </a:cubicBezTo>
                <a:cubicBezTo>
                  <a:pt x="3233729" y="4896458"/>
                  <a:pt x="3225155" y="4892171"/>
                  <a:pt x="3216581" y="4887884"/>
                </a:cubicBezTo>
                <a:cubicBezTo>
                  <a:pt x="3189431" y="4872165"/>
                  <a:pt x="3163710" y="4856446"/>
                  <a:pt x="3137989" y="4839298"/>
                </a:cubicBezTo>
                <a:cubicBezTo>
                  <a:pt x="3137989" y="4837868"/>
                  <a:pt x="3136560" y="4837868"/>
                  <a:pt x="3135131" y="4836439"/>
                </a:cubicBezTo>
                <a:cubicBezTo>
                  <a:pt x="3133702" y="4835010"/>
                  <a:pt x="3130844" y="4833581"/>
                  <a:pt x="3129415" y="4832152"/>
                </a:cubicBezTo>
                <a:cubicBezTo>
                  <a:pt x="3129415" y="4832152"/>
                  <a:pt x="3127986" y="4832152"/>
                  <a:pt x="3127986" y="4830723"/>
                </a:cubicBezTo>
                <a:cubicBezTo>
                  <a:pt x="3125128" y="4829294"/>
                  <a:pt x="3122270" y="4827865"/>
                  <a:pt x="3119412" y="4825007"/>
                </a:cubicBezTo>
                <a:cubicBezTo>
                  <a:pt x="3119412" y="4825007"/>
                  <a:pt x="3119412" y="4825007"/>
                  <a:pt x="3117983" y="4825007"/>
                </a:cubicBezTo>
                <a:cubicBezTo>
                  <a:pt x="3019385" y="4752127"/>
                  <a:pt x="2935077" y="4657812"/>
                  <a:pt x="2869345" y="4544919"/>
                </a:cubicBezTo>
                <a:cubicBezTo>
                  <a:pt x="2797897" y="4422024"/>
                  <a:pt x="2759315" y="4289125"/>
                  <a:pt x="2749313" y="4154797"/>
                </a:cubicBezTo>
                <a:cubicBezTo>
                  <a:pt x="2749313" y="4153368"/>
                  <a:pt x="2749313" y="4150510"/>
                  <a:pt x="2749313" y="4149081"/>
                </a:cubicBezTo>
                <a:cubicBezTo>
                  <a:pt x="2749313" y="4147652"/>
                  <a:pt x="2749313" y="4147652"/>
                  <a:pt x="2749313" y="4146223"/>
                </a:cubicBezTo>
                <a:cubicBezTo>
                  <a:pt x="2747884" y="4144794"/>
                  <a:pt x="2747884" y="4143365"/>
                  <a:pt x="2747884" y="4141936"/>
                </a:cubicBezTo>
                <a:cubicBezTo>
                  <a:pt x="2747884" y="4140507"/>
                  <a:pt x="2747884" y="4139078"/>
                  <a:pt x="2747884" y="4137649"/>
                </a:cubicBezTo>
                <a:cubicBezTo>
                  <a:pt x="2747884" y="4137649"/>
                  <a:pt x="2747884" y="4137649"/>
                  <a:pt x="2747884" y="4136220"/>
                </a:cubicBezTo>
                <a:cubicBezTo>
                  <a:pt x="2746455" y="4116213"/>
                  <a:pt x="2746455" y="4094778"/>
                  <a:pt x="2746455" y="4074772"/>
                </a:cubicBezTo>
                <a:cubicBezTo>
                  <a:pt x="2746455" y="4073343"/>
                  <a:pt x="2746455" y="4073343"/>
                  <a:pt x="2746455" y="4073343"/>
                </a:cubicBezTo>
                <a:cubicBezTo>
                  <a:pt x="2745026" y="3921867"/>
                  <a:pt x="2705015" y="3770391"/>
                  <a:pt x="2623564" y="3630347"/>
                </a:cubicBezTo>
                <a:cubicBezTo>
                  <a:pt x="2543543" y="3490303"/>
                  <a:pt x="2430655" y="3378839"/>
                  <a:pt x="2302049" y="3301672"/>
                </a:cubicBezTo>
                <a:cubicBezTo>
                  <a:pt x="2293475" y="3297385"/>
                  <a:pt x="2284902" y="3291669"/>
                  <a:pt x="2276328" y="3287382"/>
                </a:cubicBezTo>
                <a:cubicBezTo>
                  <a:pt x="2004826" y="3137335"/>
                  <a:pt x="1663306" y="3127332"/>
                  <a:pt x="1376085" y="3293098"/>
                </a:cubicBezTo>
                <a:cubicBezTo>
                  <a:pt x="1374656" y="3294527"/>
                  <a:pt x="1374656" y="3294527"/>
                  <a:pt x="1373227" y="3294527"/>
                </a:cubicBezTo>
                <a:cubicBezTo>
                  <a:pt x="1357509" y="3304530"/>
                  <a:pt x="1341790" y="3311675"/>
                  <a:pt x="1326072" y="3320249"/>
                </a:cubicBezTo>
                <a:cubicBezTo>
                  <a:pt x="1318927" y="3324536"/>
                  <a:pt x="1311782" y="3327394"/>
                  <a:pt x="1304638" y="3330252"/>
                </a:cubicBezTo>
                <a:cubicBezTo>
                  <a:pt x="1297493" y="3334539"/>
                  <a:pt x="1291777" y="3337398"/>
                  <a:pt x="1283203" y="3340256"/>
                </a:cubicBezTo>
                <a:cubicBezTo>
                  <a:pt x="1277487" y="3343114"/>
                  <a:pt x="1270343" y="3345972"/>
                  <a:pt x="1263198" y="3348830"/>
                </a:cubicBezTo>
                <a:cubicBezTo>
                  <a:pt x="1256053" y="3351688"/>
                  <a:pt x="1248908" y="3354546"/>
                  <a:pt x="1241763" y="3357404"/>
                </a:cubicBezTo>
                <a:cubicBezTo>
                  <a:pt x="1234619" y="3360262"/>
                  <a:pt x="1227474" y="3363120"/>
                  <a:pt x="1220329" y="3365978"/>
                </a:cubicBezTo>
                <a:cubicBezTo>
                  <a:pt x="1213184" y="3367407"/>
                  <a:pt x="1206040" y="3370265"/>
                  <a:pt x="1198895" y="3373123"/>
                </a:cubicBezTo>
                <a:cubicBezTo>
                  <a:pt x="1087436" y="3408849"/>
                  <a:pt x="971691" y="3423139"/>
                  <a:pt x="857374" y="3415994"/>
                </a:cubicBezTo>
                <a:cubicBezTo>
                  <a:pt x="850229" y="3414565"/>
                  <a:pt x="843085" y="3414565"/>
                  <a:pt x="834511" y="3414565"/>
                </a:cubicBezTo>
                <a:cubicBezTo>
                  <a:pt x="828795" y="3413136"/>
                  <a:pt x="821650" y="3413136"/>
                  <a:pt x="814505" y="3411707"/>
                </a:cubicBezTo>
                <a:cubicBezTo>
                  <a:pt x="814505" y="3411707"/>
                  <a:pt x="813076" y="3411707"/>
                  <a:pt x="813076" y="3411707"/>
                </a:cubicBezTo>
                <a:cubicBezTo>
                  <a:pt x="805932" y="3410278"/>
                  <a:pt x="800216" y="3410278"/>
                  <a:pt x="793071" y="3408849"/>
                </a:cubicBezTo>
                <a:cubicBezTo>
                  <a:pt x="793071" y="3408849"/>
                  <a:pt x="793071" y="3408849"/>
                  <a:pt x="791642" y="3408849"/>
                </a:cubicBezTo>
                <a:cubicBezTo>
                  <a:pt x="787355" y="3408849"/>
                  <a:pt x="783068" y="3407419"/>
                  <a:pt x="778782" y="3407419"/>
                </a:cubicBezTo>
                <a:cubicBezTo>
                  <a:pt x="778782" y="3407419"/>
                  <a:pt x="778782" y="3407419"/>
                  <a:pt x="777353" y="3407419"/>
                </a:cubicBezTo>
                <a:cubicBezTo>
                  <a:pt x="775924" y="3407419"/>
                  <a:pt x="774495" y="3405990"/>
                  <a:pt x="771637" y="3405990"/>
                </a:cubicBezTo>
                <a:cubicBezTo>
                  <a:pt x="771637" y="3405990"/>
                  <a:pt x="770208" y="3405990"/>
                  <a:pt x="768779" y="3405990"/>
                </a:cubicBezTo>
                <a:cubicBezTo>
                  <a:pt x="765921" y="3404561"/>
                  <a:pt x="763063" y="3404561"/>
                  <a:pt x="760205" y="3404561"/>
                </a:cubicBezTo>
                <a:cubicBezTo>
                  <a:pt x="758776" y="3404561"/>
                  <a:pt x="757347" y="3403132"/>
                  <a:pt x="755918" y="3403132"/>
                </a:cubicBezTo>
                <a:cubicBezTo>
                  <a:pt x="754489" y="3403132"/>
                  <a:pt x="753060" y="3403132"/>
                  <a:pt x="751631" y="3403132"/>
                </a:cubicBezTo>
                <a:cubicBezTo>
                  <a:pt x="748774" y="3401703"/>
                  <a:pt x="747344" y="3401703"/>
                  <a:pt x="745915" y="3401703"/>
                </a:cubicBezTo>
                <a:cubicBezTo>
                  <a:pt x="744487" y="3401703"/>
                  <a:pt x="741629" y="3400274"/>
                  <a:pt x="740200" y="3400274"/>
                </a:cubicBezTo>
                <a:cubicBezTo>
                  <a:pt x="738771" y="3400274"/>
                  <a:pt x="735913" y="3400274"/>
                  <a:pt x="734484" y="3398845"/>
                </a:cubicBezTo>
                <a:cubicBezTo>
                  <a:pt x="733055" y="3398845"/>
                  <a:pt x="731626" y="3398845"/>
                  <a:pt x="730197" y="3398845"/>
                </a:cubicBezTo>
                <a:cubicBezTo>
                  <a:pt x="727339" y="3397416"/>
                  <a:pt x="725910" y="3397416"/>
                  <a:pt x="724481" y="3397416"/>
                </a:cubicBezTo>
                <a:cubicBezTo>
                  <a:pt x="723052" y="3397416"/>
                  <a:pt x="721623" y="3395987"/>
                  <a:pt x="720194" y="3395987"/>
                </a:cubicBezTo>
                <a:cubicBezTo>
                  <a:pt x="717336" y="3395987"/>
                  <a:pt x="714478" y="3394558"/>
                  <a:pt x="711621" y="3394558"/>
                </a:cubicBezTo>
                <a:cubicBezTo>
                  <a:pt x="711621" y="3394558"/>
                  <a:pt x="710192" y="3394558"/>
                  <a:pt x="708763" y="3393129"/>
                </a:cubicBezTo>
                <a:cubicBezTo>
                  <a:pt x="705905" y="3393129"/>
                  <a:pt x="704476" y="3393129"/>
                  <a:pt x="701618" y="3391700"/>
                </a:cubicBezTo>
                <a:cubicBezTo>
                  <a:pt x="700189" y="3391700"/>
                  <a:pt x="700189" y="3391700"/>
                  <a:pt x="700189" y="3391700"/>
                </a:cubicBezTo>
                <a:cubicBezTo>
                  <a:pt x="695902" y="3390271"/>
                  <a:pt x="693044" y="3390271"/>
                  <a:pt x="690186" y="3388842"/>
                </a:cubicBezTo>
                <a:cubicBezTo>
                  <a:pt x="690186" y="3388842"/>
                  <a:pt x="688757" y="3388842"/>
                  <a:pt x="688757" y="3388842"/>
                </a:cubicBezTo>
                <a:cubicBezTo>
                  <a:pt x="681612" y="3387413"/>
                  <a:pt x="675897" y="3385984"/>
                  <a:pt x="668752" y="3383126"/>
                </a:cubicBezTo>
                <a:cubicBezTo>
                  <a:pt x="668752" y="3383126"/>
                  <a:pt x="667323" y="3383126"/>
                  <a:pt x="667323" y="3383126"/>
                </a:cubicBezTo>
                <a:cubicBezTo>
                  <a:pt x="660178" y="3381697"/>
                  <a:pt x="654462" y="3378839"/>
                  <a:pt x="647317" y="3377410"/>
                </a:cubicBezTo>
                <a:cubicBezTo>
                  <a:pt x="585872" y="3358833"/>
                  <a:pt x="525856" y="3333110"/>
                  <a:pt x="470127" y="3301672"/>
                </a:cubicBezTo>
                <a:cubicBezTo>
                  <a:pt x="470127" y="3301672"/>
                  <a:pt x="470127" y="3301672"/>
                  <a:pt x="468698" y="3301672"/>
                </a:cubicBezTo>
                <a:cubicBezTo>
                  <a:pt x="457266" y="3294527"/>
                  <a:pt x="445835" y="3287382"/>
                  <a:pt x="432974" y="3280237"/>
                </a:cubicBezTo>
                <a:cubicBezTo>
                  <a:pt x="432974" y="3280237"/>
                  <a:pt x="432974" y="3280237"/>
                  <a:pt x="431545" y="3278808"/>
                </a:cubicBezTo>
                <a:cubicBezTo>
                  <a:pt x="430116" y="3277379"/>
                  <a:pt x="427258" y="3275950"/>
                  <a:pt x="424400" y="3274521"/>
                </a:cubicBezTo>
                <a:cubicBezTo>
                  <a:pt x="422972" y="3273092"/>
                  <a:pt x="421542" y="3273092"/>
                  <a:pt x="418684" y="3271663"/>
                </a:cubicBezTo>
                <a:cubicBezTo>
                  <a:pt x="418684" y="3270234"/>
                  <a:pt x="417255" y="3270234"/>
                  <a:pt x="417255" y="3270234"/>
                </a:cubicBezTo>
                <a:cubicBezTo>
                  <a:pt x="298652" y="3193067"/>
                  <a:pt x="197196" y="3088748"/>
                  <a:pt x="122891" y="2960136"/>
                </a:cubicBezTo>
                <a:cubicBezTo>
                  <a:pt x="42869" y="2820092"/>
                  <a:pt x="2858" y="2668616"/>
                  <a:pt x="0" y="2517140"/>
                </a:cubicBezTo>
                <a:cubicBezTo>
                  <a:pt x="0" y="2508566"/>
                  <a:pt x="0" y="2498563"/>
                  <a:pt x="0" y="2488560"/>
                </a:cubicBezTo>
                <a:cubicBezTo>
                  <a:pt x="0" y="2488560"/>
                  <a:pt x="0" y="2487131"/>
                  <a:pt x="0" y="2487131"/>
                </a:cubicBezTo>
                <a:cubicBezTo>
                  <a:pt x="2858" y="2325651"/>
                  <a:pt x="48585" y="2167030"/>
                  <a:pt x="131464" y="2028415"/>
                </a:cubicBezTo>
                <a:cubicBezTo>
                  <a:pt x="577299" y="1255316"/>
                  <a:pt x="583014" y="1245313"/>
                  <a:pt x="1030278" y="470784"/>
                </a:cubicBezTo>
                <a:cubicBezTo>
                  <a:pt x="1031707" y="470784"/>
                  <a:pt x="1031707" y="469355"/>
                  <a:pt x="1033136" y="467926"/>
                </a:cubicBezTo>
                <a:cubicBezTo>
                  <a:pt x="1033136" y="466497"/>
                  <a:pt x="1034565" y="465068"/>
                  <a:pt x="1034565" y="465068"/>
                </a:cubicBezTo>
                <a:cubicBezTo>
                  <a:pt x="1035994" y="462210"/>
                  <a:pt x="1037423" y="459352"/>
                  <a:pt x="1038852" y="456494"/>
                </a:cubicBezTo>
                <a:cubicBezTo>
                  <a:pt x="1038852" y="456494"/>
                  <a:pt x="1040281" y="455065"/>
                  <a:pt x="1040281" y="453635"/>
                </a:cubicBezTo>
                <a:cubicBezTo>
                  <a:pt x="1041709" y="452206"/>
                  <a:pt x="1043138" y="450777"/>
                  <a:pt x="1043138" y="447919"/>
                </a:cubicBezTo>
                <a:cubicBezTo>
                  <a:pt x="1044567" y="447919"/>
                  <a:pt x="1044567" y="446490"/>
                  <a:pt x="1045996" y="445061"/>
                </a:cubicBezTo>
                <a:cubicBezTo>
                  <a:pt x="1047425" y="443632"/>
                  <a:pt x="1048854" y="440774"/>
                  <a:pt x="1050283" y="437916"/>
                </a:cubicBezTo>
                <a:cubicBezTo>
                  <a:pt x="1050283" y="436487"/>
                  <a:pt x="1051712" y="436487"/>
                  <a:pt x="1051712" y="435058"/>
                </a:cubicBezTo>
                <a:cubicBezTo>
                  <a:pt x="1053141" y="433629"/>
                  <a:pt x="1054570" y="430771"/>
                  <a:pt x="1054570" y="429342"/>
                </a:cubicBezTo>
                <a:cubicBezTo>
                  <a:pt x="1055999" y="427913"/>
                  <a:pt x="1055999" y="427913"/>
                  <a:pt x="1057428" y="426484"/>
                </a:cubicBezTo>
                <a:cubicBezTo>
                  <a:pt x="1058857" y="423626"/>
                  <a:pt x="1060286" y="422197"/>
                  <a:pt x="1061715" y="419339"/>
                </a:cubicBezTo>
                <a:cubicBezTo>
                  <a:pt x="1061715" y="417910"/>
                  <a:pt x="1063144" y="417910"/>
                  <a:pt x="1063144" y="416481"/>
                </a:cubicBezTo>
                <a:cubicBezTo>
                  <a:pt x="1064573" y="413623"/>
                  <a:pt x="1066002" y="412194"/>
                  <a:pt x="1067431" y="410765"/>
                </a:cubicBezTo>
                <a:cubicBezTo>
                  <a:pt x="1067431" y="409336"/>
                  <a:pt x="1068860" y="409336"/>
                  <a:pt x="1068860" y="407907"/>
                </a:cubicBezTo>
                <a:cubicBezTo>
                  <a:pt x="1070289" y="405049"/>
                  <a:pt x="1071718" y="403620"/>
                  <a:pt x="1074576" y="400762"/>
                </a:cubicBezTo>
                <a:cubicBezTo>
                  <a:pt x="1074576" y="399333"/>
                  <a:pt x="1074576" y="399333"/>
                  <a:pt x="1076004" y="397904"/>
                </a:cubicBezTo>
                <a:cubicBezTo>
                  <a:pt x="1077433" y="396475"/>
                  <a:pt x="1078863" y="393617"/>
                  <a:pt x="1080291" y="392188"/>
                </a:cubicBezTo>
                <a:cubicBezTo>
                  <a:pt x="1080291" y="390759"/>
                  <a:pt x="1081720" y="390759"/>
                  <a:pt x="1081720" y="389330"/>
                </a:cubicBezTo>
                <a:cubicBezTo>
                  <a:pt x="1083149" y="387901"/>
                  <a:pt x="1084578" y="385043"/>
                  <a:pt x="1087436" y="382185"/>
                </a:cubicBezTo>
                <a:cubicBezTo>
                  <a:pt x="1087436" y="382185"/>
                  <a:pt x="1087436" y="380755"/>
                  <a:pt x="1088865" y="379326"/>
                </a:cubicBezTo>
                <a:cubicBezTo>
                  <a:pt x="1090294" y="377897"/>
                  <a:pt x="1091723" y="375039"/>
                  <a:pt x="1093152" y="373610"/>
                </a:cubicBezTo>
                <a:cubicBezTo>
                  <a:pt x="1094581" y="372181"/>
                  <a:pt x="1094581" y="372181"/>
                  <a:pt x="1094581" y="372181"/>
                </a:cubicBezTo>
                <a:cubicBezTo>
                  <a:pt x="1096010" y="369323"/>
                  <a:pt x="1098868" y="366465"/>
                  <a:pt x="1100297" y="365036"/>
                </a:cubicBezTo>
                <a:cubicBezTo>
                  <a:pt x="1100297" y="363607"/>
                  <a:pt x="1101726" y="363607"/>
                  <a:pt x="1101726" y="362178"/>
                </a:cubicBezTo>
                <a:cubicBezTo>
                  <a:pt x="1103155" y="359320"/>
                  <a:pt x="1106013" y="356462"/>
                  <a:pt x="1107442" y="353604"/>
                </a:cubicBezTo>
                <a:cubicBezTo>
                  <a:pt x="1110299" y="352175"/>
                  <a:pt x="1111728" y="349317"/>
                  <a:pt x="1113157" y="346459"/>
                </a:cubicBezTo>
                <a:cubicBezTo>
                  <a:pt x="1114586" y="346459"/>
                  <a:pt x="1114586" y="345030"/>
                  <a:pt x="1114586" y="345030"/>
                </a:cubicBezTo>
                <a:cubicBezTo>
                  <a:pt x="1118873" y="339314"/>
                  <a:pt x="1123160" y="333598"/>
                  <a:pt x="1127447" y="329311"/>
                </a:cubicBezTo>
                <a:cubicBezTo>
                  <a:pt x="1128876" y="329311"/>
                  <a:pt x="1128876" y="327882"/>
                  <a:pt x="1128876" y="327882"/>
                </a:cubicBezTo>
                <a:cubicBezTo>
                  <a:pt x="1133163" y="322166"/>
                  <a:pt x="1137450" y="316450"/>
                  <a:pt x="1143165" y="312163"/>
                </a:cubicBezTo>
                <a:cubicBezTo>
                  <a:pt x="1143165" y="312163"/>
                  <a:pt x="1143165" y="310734"/>
                  <a:pt x="1143165" y="310734"/>
                </a:cubicBezTo>
                <a:cubicBezTo>
                  <a:pt x="1148881" y="305017"/>
                  <a:pt x="1153168" y="300730"/>
                  <a:pt x="1157455" y="295014"/>
                </a:cubicBezTo>
                <a:cubicBezTo>
                  <a:pt x="1157455" y="295014"/>
                  <a:pt x="1158884" y="295014"/>
                  <a:pt x="1158884" y="293585"/>
                </a:cubicBezTo>
                <a:cubicBezTo>
                  <a:pt x="1163171" y="289298"/>
                  <a:pt x="1168887" y="283582"/>
                  <a:pt x="1173174" y="277866"/>
                </a:cubicBezTo>
                <a:cubicBezTo>
                  <a:pt x="1231761" y="219276"/>
                  <a:pt x="1298922" y="166403"/>
                  <a:pt x="1373227" y="122103"/>
                </a:cubicBezTo>
                <a:cubicBezTo>
                  <a:pt x="1427528" y="90664"/>
                  <a:pt x="1484686" y="66371"/>
                  <a:pt x="1543273" y="46365"/>
                </a:cubicBezTo>
                <a:cubicBezTo>
                  <a:pt x="1546131" y="44936"/>
                  <a:pt x="1548989" y="44936"/>
                  <a:pt x="1553276" y="43507"/>
                </a:cubicBezTo>
                <a:cubicBezTo>
                  <a:pt x="1557563" y="42078"/>
                  <a:pt x="1560421" y="40649"/>
                  <a:pt x="1563279" y="39220"/>
                </a:cubicBezTo>
                <a:cubicBezTo>
                  <a:pt x="1564708" y="39220"/>
                  <a:pt x="1564708" y="39220"/>
                  <a:pt x="1564708" y="39220"/>
                </a:cubicBezTo>
                <a:cubicBezTo>
                  <a:pt x="1567566" y="39220"/>
                  <a:pt x="1571852" y="37791"/>
                  <a:pt x="1574710" y="36362"/>
                </a:cubicBezTo>
                <a:cubicBezTo>
                  <a:pt x="1574710" y="36362"/>
                  <a:pt x="1574710" y="36362"/>
                  <a:pt x="1576139" y="36362"/>
                </a:cubicBezTo>
                <a:cubicBezTo>
                  <a:pt x="1578997" y="34933"/>
                  <a:pt x="1581855" y="34933"/>
                  <a:pt x="1584713" y="33504"/>
                </a:cubicBezTo>
                <a:cubicBezTo>
                  <a:pt x="1586142" y="33504"/>
                  <a:pt x="1586142" y="33504"/>
                  <a:pt x="1587571" y="33504"/>
                </a:cubicBezTo>
                <a:cubicBezTo>
                  <a:pt x="1590429" y="32075"/>
                  <a:pt x="1593287" y="32075"/>
                  <a:pt x="1596145" y="30646"/>
                </a:cubicBezTo>
                <a:cubicBezTo>
                  <a:pt x="1596145" y="30646"/>
                  <a:pt x="1597574" y="30646"/>
                  <a:pt x="1597574" y="30646"/>
                </a:cubicBezTo>
                <a:cubicBezTo>
                  <a:pt x="1600432" y="29217"/>
                  <a:pt x="1603289" y="29217"/>
                  <a:pt x="1607576" y="27788"/>
                </a:cubicBezTo>
                <a:cubicBezTo>
                  <a:pt x="1607576" y="27788"/>
                  <a:pt x="1609005" y="27788"/>
                  <a:pt x="1609005" y="27788"/>
                </a:cubicBezTo>
                <a:cubicBezTo>
                  <a:pt x="1611863" y="26359"/>
                  <a:pt x="1614721" y="26359"/>
                  <a:pt x="1617579" y="24930"/>
                </a:cubicBezTo>
                <a:cubicBezTo>
                  <a:pt x="1617579" y="24930"/>
                  <a:pt x="1619008" y="24930"/>
                  <a:pt x="1619008" y="24930"/>
                </a:cubicBezTo>
                <a:cubicBezTo>
                  <a:pt x="1621866" y="23501"/>
                  <a:pt x="1624724" y="23501"/>
                  <a:pt x="1629011" y="22072"/>
                </a:cubicBezTo>
                <a:cubicBezTo>
                  <a:pt x="1629011" y="22072"/>
                  <a:pt x="1630440" y="22072"/>
                  <a:pt x="1631869" y="22072"/>
                </a:cubicBezTo>
                <a:cubicBezTo>
                  <a:pt x="1633298" y="22072"/>
                  <a:pt x="1634727" y="20643"/>
                  <a:pt x="1636155" y="20643"/>
                </a:cubicBezTo>
                <a:cubicBezTo>
                  <a:pt x="1636155" y="20643"/>
                  <a:pt x="1637584" y="20643"/>
                  <a:pt x="1639013" y="20643"/>
                </a:cubicBezTo>
                <a:cubicBezTo>
                  <a:pt x="1639013" y="20643"/>
                  <a:pt x="1640442" y="19213"/>
                  <a:pt x="1641871" y="19213"/>
                </a:cubicBezTo>
                <a:cubicBezTo>
                  <a:pt x="1641871" y="19213"/>
                  <a:pt x="1641871" y="19213"/>
                  <a:pt x="1643300" y="19213"/>
                </a:cubicBezTo>
                <a:cubicBezTo>
                  <a:pt x="1644729" y="19213"/>
                  <a:pt x="1647587" y="17784"/>
                  <a:pt x="1650445" y="17784"/>
                </a:cubicBezTo>
                <a:cubicBezTo>
                  <a:pt x="1651874" y="17784"/>
                  <a:pt x="1653303" y="17784"/>
                  <a:pt x="1654732" y="17784"/>
                </a:cubicBezTo>
                <a:cubicBezTo>
                  <a:pt x="1654732" y="16355"/>
                  <a:pt x="1656161" y="16355"/>
                  <a:pt x="1657590" y="16355"/>
                </a:cubicBezTo>
                <a:cubicBezTo>
                  <a:pt x="1657590" y="16355"/>
                  <a:pt x="1659019" y="16355"/>
                  <a:pt x="1660448" y="16355"/>
                </a:cubicBezTo>
                <a:cubicBezTo>
                  <a:pt x="1661877" y="16355"/>
                  <a:pt x="1663306" y="14926"/>
                  <a:pt x="1664735" y="14926"/>
                </a:cubicBezTo>
                <a:cubicBezTo>
                  <a:pt x="1666164" y="14926"/>
                  <a:pt x="1666164" y="14926"/>
                  <a:pt x="1666164" y="14926"/>
                </a:cubicBezTo>
                <a:cubicBezTo>
                  <a:pt x="1669021" y="14926"/>
                  <a:pt x="1670450" y="13497"/>
                  <a:pt x="1671879" y="13497"/>
                </a:cubicBezTo>
                <a:cubicBezTo>
                  <a:pt x="1673308" y="13497"/>
                  <a:pt x="1674737" y="13497"/>
                  <a:pt x="1676166" y="13497"/>
                </a:cubicBezTo>
                <a:cubicBezTo>
                  <a:pt x="1677595" y="13497"/>
                  <a:pt x="1679024" y="12068"/>
                  <a:pt x="1679024" y="12068"/>
                </a:cubicBezTo>
                <a:cubicBezTo>
                  <a:pt x="1680453" y="12068"/>
                  <a:pt x="1680453" y="12068"/>
                  <a:pt x="1681882" y="12068"/>
                </a:cubicBezTo>
                <a:cubicBezTo>
                  <a:pt x="1683311" y="12068"/>
                  <a:pt x="1686169" y="12068"/>
                  <a:pt x="1687598" y="10639"/>
                </a:cubicBezTo>
                <a:cubicBezTo>
                  <a:pt x="1687598" y="10639"/>
                  <a:pt x="1689027" y="10639"/>
                  <a:pt x="1689027" y="10639"/>
                </a:cubicBezTo>
                <a:cubicBezTo>
                  <a:pt x="1690456" y="10639"/>
                  <a:pt x="1691885" y="10639"/>
                  <a:pt x="1693314" y="10639"/>
                </a:cubicBezTo>
                <a:cubicBezTo>
                  <a:pt x="1694743" y="10639"/>
                  <a:pt x="1697601" y="9210"/>
                  <a:pt x="1699030" y="9210"/>
                </a:cubicBezTo>
                <a:cubicBezTo>
                  <a:pt x="1700459" y="9210"/>
                  <a:pt x="1700459" y="9210"/>
                  <a:pt x="1701887" y="9210"/>
                </a:cubicBezTo>
                <a:cubicBezTo>
                  <a:pt x="1701887" y="9210"/>
                  <a:pt x="1703316" y="9210"/>
                  <a:pt x="1703316" y="9210"/>
                </a:cubicBezTo>
                <a:cubicBezTo>
                  <a:pt x="1706174" y="9210"/>
                  <a:pt x="1707603" y="7781"/>
                  <a:pt x="1710461" y="7781"/>
                </a:cubicBezTo>
                <a:cubicBezTo>
                  <a:pt x="1710461" y="7781"/>
                  <a:pt x="1711890" y="7781"/>
                  <a:pt x="1711890" y="7781"/>
                </a:cubicBezTo>
                <a:cubicBezTo>
                  <a:pt x="1711890" y="7781"/>
                  <a:pt x="1711890" y="7781"/>
                  <a:pt x="1713319" y="7781"/>
                </a:cubicBezTo>
                <a:cubicBezTo>
                  <a:pt x="1713319" y="7781"/>
                  <a:pt x="1714748" y="7781"/>
                  <a:pt x="1714748" y="7781"/>
                </a:cubicBezTo>
                <a:cubicBezTo>
                  <a:pt x="1717606" y="6352"/>
                  <a:pt x="1719035" y="6352"/>
                  <a:pt x="1721893" y="6352"/>
                </a:cubicBezTo>
                <a:cubicBezTo>
                  <a:pt x="1721893" y="6352"/>
                  <a:pt x="1721893" y="6352"/>
                  <a:pt x="1723322" y="6352"/>
                </a:cubicBezTo>
                <a:cubicBezTo>
                  <a:pt x="1723322" y="6352"/>
                  <a:pt x="1724751" y="6352"/>
                  <a:pt x="1724751" y="6352"/>
                </a:cubicBezTo>
                <a:cubicBezTo>
                  <a:pt x="1724751" y="6352"/>
                  <a:pt x="1724751" y="6352"/>
                  <a:pt x="1726180" y="6352"/>
                </a:cubicBezTo>
                <a:cubicBezTo>
                  <a:pt x="1727609" y="6352"/>
                  <a:pt x="1730467" y="4923"/>
                  <a:pt x="1733325" y="4923"/>
                </a:cubicBezTo>
                <a:cubicBezTo>
                  <a:pt x="1733325" y="4923"/>
                  <a:pt x="1733325" y="4923"/>
                  <a:pt x="1734753" y="4923"/>
                </a:cubicBezTo>
                <a:cubicBezTo>
                  <a:pt x="1734753" y="4923"/>
                  <a:pt x="1734753" y="4923"/>
                  <a:pt x="1736182" y="4923"/>
                </a:cubicBezTo>
                <a:cubicBezTo>
                  <a:pt x="1739040" y="4923"/>
                  <a:pt x="1741898" y="4923"/>
                  <a:pt x="1744756" y="3494"/>
                </a:cubicBezTo>
                <a:cubicBezTo>
                  <a:pt x="1747614" y="3494"/>
                  <a:pt x="1751901" y="3494"/>
                  <a:pt x="1756188" y="3494"/>
                </a:cubicBezTo>
                <a:cubicBezTo>
                  <a:pt x="1757617" y="3494"/>
                  <a:pt x="1757617" y="3494"/>
                  <a:pt x="1759046" y="3494"/>
                </a:cubicBezTo>
                <a:cubicBezTo>
                  <a:pt x="1764762" y="2065"/>
                  <a:pt x="1771906" y="2065"/>
                  <a:pt x="1779051" y="2065"/>
                </a:cubicBezTo>
                <a:cubicBezTo>
                  <a:pt x="1786196" y="636"/>
                  <a:pt x="1793341" y="636"/>
                  <a:pt x="1801914" y="636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6BD396-A9EF-4F5D-5D74-70405F6299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622025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70547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yellow and orange wave&#10;&#10;Description automatically generated with medium confidence">
            <a:extLst>
              <a:ext uri="{FF2B5EF4-FFF2-40B4-BE49-F238E27FC236}">
                <a16:creationId xmlns:a16="http://schemas.microsoft.com/office/drawing/2014/main" id="{C125A928-702B-F863-2447-9BBC0DB485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7877" y="2479031"/>
            <a:ext cx="4674124" cy="437999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219B4C3-ECD6-8B72-6D18-DB4040D28F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024" y="0"/>
            <a:ext cx="5350976" cy="5712643"/>
          </a:xfrm>
          <a:custGeom>
            <a:avLst/>
            <a:gdLst>
              <a:gd name="connsiteX0" fmla="*/ 2441813 w 5182014"/>
              <a:gd name="connsiteY0" fmla="*/ 0 h 5532261"/>
              <a:gd name="connsiteX1" fmla="*/ 5182014 w 5182014"/>
              <a:gd name="connsiteY1" fmla="*/ 0 h 5532261"/>
              <a:gd name="connsiteX2" fmla="*/ 5182014 w 5182014"/>
              <a:gd name="connsiteY2" fmla="*/ 2429538 h 5532261"/>
              <a:gd name="connsiteX3" fmla="*/ 4889685 w 5182014"/>
              <a:gd name="connsiteY3" fmla="*/ 2509548 h 5532261"/>
              <a:gd name="connsiteX4" fmla="*/ 4835835 w 5182014"/>
              <a:gd name="connsiteY4" fmla="*/ 2531089 h 5532261"/>
              <a:gd name="connsiteX5" fmla="*/ 3694213 w 5182014"/>
              <a:gd name="connsiteY5" fmla="*/ 3965116 h 5532261"/>
              <a:gd name="connsiteX6" fmla="*/ 2552590 w 5182014"/>
              <a:gd name="connsiteY6" fmla="*/ 5397605 h 5532261"/>
              <a:gd name="connsiteX7" fmla="*/ 2497202 w 5182014"/>
              <a:gd name="connsiteY7" fmla="*/ 5419146 h 5532261"/>
              <a:gd name="connsiteX8" fmla="*/ 1567903 w 5182014"/>
              <a:gd name="connsiteY8" fmla="*/ 5508388 h 5532261"/>
              <a:gd name="connsiteX9" fmla="*/ 712455 w 5182014"/>
              <a:gd name="connsiteY9" fmla="*/ 5136033 h 5532261"/>
              <a:gd name="connsiteX10" fmla="*/ 666298 w 5182014"/>
              <a:gd name="connsiteY10" fmla="*/ 5099106 h 5532261"/>
              <a:gd name="connsiteX11" fmla="*/ 23174 w 5182014"/>
              <a:gd name="connsiteY11" fmla="*/ 3383504 h 5532261"/>
              <a:gd name="connsiteX12" fmla="*/ 413972 w 5182014"/>
              <a:gd name="connsiteY12" fmla="*/ 2504932 h 5532261"/>
              <a:gd name="connsiteX13" fmla="*/ 430896 w 5182014"/>
              <a:gd name="connsiteY13" fmla="*/ 2484929 h 5532261"/>
              <a:gd name="connsiteX14" fmla="*/ 440127 w 5182014"/>
              <a:gd name="connsiteY14" fmla="*/ 2474159 h 5532261"/>
              <a:gd name="connsiteX15" fmla="*/ 787845 w 5182014"/>
              <a:gd name="connsiteY15" fmla="*/ 2044874 h 5532261"/>
              <a:gd name="connsiteX16" fmla="*/ 2380270 w 5182014"/>
              <a:gd name="connsiteY16" fmla="*/ 76933 h 5532261"/>
              <a:gd name="connsiteX17" fmla="*/ 2441813 w 5182014"/>
              <a:gd name="connsiteY17" fmla="*/ 0 h 5532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182014" h="5532261">
                <a:moveTo>
                  <a:pt x="2441813" y="0"/>
                </a:moveTo>
                <a:cubicBezTo>
                  <a:pt x="2441813" y="0"/>
                  <a:pt x="2441813" y="0"/>
                  <a:pt x="5182014" y="0"/>
                </a:cubicBezTo>
                <a:cubicBezTo>
                  <a:pt x="5182014" y="0"/>
                  <a:pt x="5182014" y="0"/>
                  <a:pt x="5182014" y="2429538"/>
                </a:cubicBezTo>
                <a:cubicBezTo>
                  <a:pt x="5082007" y="2448001"/>
                  <a:pt x="4985077" y="2475697"/>
                  <a:pt x="4889685" y="2509548"/>
                </a:cubicBezTo>
                <a:cubicBezTo>
                  <a:pt x="4871222" y="2517241"/>
                  <a:pt x="4852759" y="2523396"/>
                  <a:pt x="4835835" y="2531089"/>
                </a:cubicBezTo>
                <a:cubicBezTo>
                  <a:pt x="4249638" y="2766503"/>
                  <a:pt x="3798836" y="3295801"/>
                  <a:pt x="3694213" y="3965116"/>
                </a:cubicBezTo>
                <a:cubicBezTo>
                  <a:pt x="3588051" y="4632893"/>
                  <a:pt x="3137249" y="5162190"/>
                  <a:pt x="2552590" y="5397605"/>
                </a:cubicBezTo>
                <a:cubicBezTo>
                  <a:pt x="2532589" y="5403759"/>
                  <a:pt x="2514126" y="5411453"/>
                  <a:pt x="2497202" y="5419146"/>
                </a:cubicBezTo>
                <a:cubicBezTo>
                  <a:pt x="2209488" y="5525313"/>
                  <a:pt x="1891003" y="5560702"/>
                  <a:pt x="1567903" y="5508388"/>
                </a:cubicBezTo>
                <a:cubicBezTo>
                  <a:pt x="1244802" y="5457612"/>
                  <a:pt x="952473" y="5325288"/>
                  <a:pt x="712455" y="5136033"/>
                </a:cubicBezTo>
                <a:cubicBezTo>
                  <a:pt x="697069" y="5123724"/>
                  <a:pt x="681684" y="5111415"/>
                  <a:pt x="666298" y="5099106"/>
                </a:cubicBezTo>
                <a:cubicBezTo>
                  <a:pt x="183186" y="4694439"/>
                  <a:pt x="-82988" y="4051281"/>
                  <a:pt x="23174" y="3383504"/>
                </a:cubicBezTo>
                <a:cubicBezTo>
                  <a:pt x="77024" y="3048077"/>
                  <a:pt x="215496" y="2749578"/>
                  <a:pt x="413972" y="2504932"/>
                </a:cubicBezTo>
                <a:cubicBezTo>
                  <a:pt x="420126" y="2498777"/>
                  <a:pt x="424742" y="2491084"/>
                  <a:pt x="430896" y="2484929"/>
                </a:cubicBezTo>
                <a:cubicBezTo>
                  <a:pt x="433973" y="2480313"/>
                  <a:pt x="437050" y="2477236"/>
                  <a:pt x="440127" y="2474159"/>
                </a:cubicBezTo>
                <a:cubicBezTo>
                  <a:pt x="569368" y="2314138"/>
                  <a:pt x="683222" y="2172582"/>
                  <a:pt x="787845" y="2044874"/>
                </a:cubicBezTo>
                <a:cubicBezTo>
                  <a:pt x="1490974" y="1175533"/>
                  <a:pt x="1677141" y="944735"/>
                  <a:pt x="2380270" y="76933"/>
                </a:cubicBezTo>
                <a:cubicBezTo>
                  <a:pt x="2400271" y="52314"/>
                  <a:pt x="2421811" y="26157"/>
                  <a:pt x="2441813" y="0"/>
                </a:cubicBezTo>
                <a:close/>
              </a:path>
            </a:pathLst>
          </a:custGeom>
        </p:spPr>
        <p:txBody>
          <a:bodyPr wrap="square" tIns="2232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232FB1-F3D9-9063-6297-166EBA2526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285098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320667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 descr="A yellow and pink gradient&#10;&#10;Description automatically generated">
            <a:extLst>
              <a:ext uri="{FF2B5EF4-FFF2-40B4-BE49-F238E27FC236}">
                <a16:creationId xmlns:a16="http://schemas.microsoft.com/office/drawing/2014/main" id="{42CDA96A-9BD0-0CE9-B6BA-1C92DC5B8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161" y="3208054"/>
            <a:ext cx="3905839" cy="3650972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1EF5172-2DF4-5C2C-6504-29D2248731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36311" y="0"/>
            <a:ext cx="6965115" cy="5439266"/>
          </a:xfrm>
          <a:custGeom>
            <a:avLst/>
            <a:gdLst>
              <a:gd name="connsiteX0" fmla="*/ 453997 w 6042287"/>
              <a:gd name="connsiteY0" fmla="*/ 0 h 4718602"/>
              <a:gd name="connsiteX1" fmla="*/ 6042287 w 6042287"/>
              <a:gd name="connsiteY1" fmla="*/ 0 h 4718602"/>
              <a:gd name="connsiteX2" fmla="*/ 6040911 w 6042287"/>
              <a:gd name="connsiteY2" fmla="*/ 2791979 h 4718602"/>
              <a:gd name="connsiteX3" fmla="*/ 5183820 w 6042287"/>
              <a:gd name="connsiteY3" fmla="*/ 4276722 h 4718602"/>
              <a:gd name="connsiteX4" fmla="*/ 4871525 w 6042287"/>
              <a:gd name="connsiteY4" fmla="*/ 4593211 h 4718602"/>
              <a:gd name="connsiteX5" fmla="*/ 4848138 w 6042287"/>
              <a:gd name="connsiteY5" fmla="*/ 4606971 h 4718602"/>
              <a:gd name="connsiteX6" fmla="*/ 3975913 w 6042287"/>
              <a:gd name="connsiteY6" fmla="*/ 4600091 h 4718602"/>
              <a:gd name="connsiteX7" fmla="*/ 3534298 w 6042287"/>
              <a:gd name="connsiteY7" fmla="*/ 3848775 h 4718602"/>
              <a:gd name="connsiteX8" fmla="*/ 3534298 w 6042287"/>
              <a:gd name="connsiteY8" fmla="*/ 3819878 h 4718602"/>
              <a:gd name="connsiteX9" fmla="*/ 3092683 w 6042287"/>
              <a:gd name="connsiteY9" fmla="*/ 3068562 h 4718602"/>
              <a:gd name="connsiteX10" fmla="*/ 2220458 w 6042287"/>
              <a:gd name="connsiteY10" fmla="*/ 3061682 h 4718602"/>
              <a:gd name="connsiteX11" fmla="*/ 2197070 w 6042287"/>
              <a:gd name="connsiteY11" fmla="*/ 3075442 h 4718602"/>
              <a:gd name="connsiteX12" fmla="*/ 1324846 w 6042287"/>
              <a:gd name="connsiteY12" fmla="*/ 3068562 h 4718602"/>
              <a:gd name="connsiteX13" fmla="*/ 1001545 w 6042287"/>
              <a:gd name="connsiteY13" fmla="*/ 2745193 h 4718602"/>
              <a:gd name="connsiteX14" fmla="*/ 996042 w 6042287"/>
              <a:gd name="connsiteY14" fmla="*/ 2734185 h 4718602"/>
              <a:gd name="connsiteX15" fmla="*/ 991915 w 6042287"/>
              <a:gd name="connsiteY15" fmla="*/ 2728681 h 4718602"/>
              <a:gd name="connsiteX16" fmla="*/ 861219 w 6042287"/>
              <a:gd name="connsiteY16" fmla="*/ 2501635 h 4718602"/>
              <a:gd name="connsiteX17" fmla="*/ 258641 w 6042287"/>
              <a:gd name="connsiteY17" fmla="*/ 1458599 h 4718602"/>
              <a:gd name="connsiteX18" fmla="*/ 130696 w 6042287"/>
              <a:gd name="connsiteY18" fmla="*/ 1234305 h 4718602"/>
              <a:gd name="connsiteX19" fmla="*/ 118315 w 6042287"/>
              <a:gd name="connsiteY19" fmla="*/ 1215041 h 4718602"/>
              <a:gd name="connsiteX20" fmla="*/ 0 w 6042287"/>
              <a:gd name="connsiteY20" fmla="*/ 787093 h 4718602"/>
              <a:gd name="connsiteX21" fmla="*/ 0 w 6042287"/>
              <a:gd name="connsiteY21" fmla="*/ 758196 h 4718602"/>
              <a:gd name="connsiteX22" fmla="*/ 118315 w 6042287"/>
              <a:gd name="connsiteY22" fmla="*/ 330249 h 4718602"/>
              <a:gd name="connsiteX23" fmla="*/ 429234 w 6042287"/>
              <a:gd name="connsiteY23" fmla="*/ 13761 h 4718602"/>
              <a:gd name="connsiteX24" fmla="*/ 453997 w 6042287"/>
              <a:gd name="connsiteY24" fmla="*/ 0 h 4718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042287" h="4718602">
                <a:moveTo>
                  <a:pt x="453997" y="0"/>
                </a:moveTo>
                <a:cubicBezTo>
                  <a:pt x="6042287" y="0"/>
                  <a:pt x="6042287" y="0"/>
                  <a:pt x="6042287" y="0"/>
                </a:cubicBezTo>
                <a:lnTo>
                  <a:pt x="6040911" y="2791979"/>
                </a:lnTo>
                <a:cubicBezTo>
                  <a:pt x="5183820" y="4276722"/>
                  <a:pt x="5183820" y="4276722"/>
                  <a:pt x="5183820" y="4276722"/>
                </a:cubicBezTo>
                <a:cubicBezTo>
                  <a:pt x="5105403" y="4411574"/>
                  <a:pt x="4996718" y="4517529"/>
                  <a:pt x="4871525" y="4593211"/>
                </a:cubicBezTo>
                <a:cubicBezTo>
                  <a:pt x="4864647" y="4597339"/>
                  <a:pt x="4856392" y="4601467"/>
                  <a:pt x="4848138" y="4606971"/>
                </a:cubicBezTo>
                <a:cubicBezTo>
                  <a:pt x="4585370" y="4752831"/>
                  <a:pt x="4255190" y="4761087"/>
                  <a:pt x="3975913" y="4600091"/>
                </a:cubicBezTo>
                <a:cubicBezTo>
                  <a:pt x="3698012" y="4439095"/>
                  <a:pt x="3539801" y="4148751"/>
                  <a:pt x="3534298" y="3848775"/>
                </a:cubicBezTo>
                <a:cubicBezTo>
                  <a:pt x="3534298" y="3839143"/>
                  <a:pt x="3534298" y="3829510"/>
                  <a:pt x="3534298" y="3819878"/>
                </a:cubicBezTo>
                <a:cubicBezTo>
                  <a:pt x="3528795" y="3519902"/>
                  <a:pt x="3371959" y="3229558"/>
                  <a:pt x="3092683" y="3068562"/>
                </a:cubicBezTo>
                <a:cubicBezTo>
                  <a:pt x="2813406" y="2907566"/>
                  <a:pt x="2483226" y="2915822"/>
                  <a:pt x="2220458" y="3061682"/>
                </a:cubicBezTo>
                <a:cubicBezTo>
                  <a:pt x="2213579" y="3065810"/>
                  <a:pt x="2205325" y="3071314"/>
                  <a:pt x="2197070" y="3075442"/>
                </a:cubicBezTo>
                <a:cubicBezTo>
                  <a:pt x="1934302" y="3221302"/>
                  <a:pt x="1604123" y="3229558"/>
                  <a:pt x="1324846" y="3068562"/>
                </a:cubicBezTo>
                <a:cubicBezTo>
                  <a:pt x="1185895" y="2988752"/>
                  <a:pt x="1077211" y="2875917"/>
                  <a:pt x="1001545" y="2745193"/>
                </a:cubicBezTo>
                <a:cubicBezTo>
                  <a:pt x="1000169" y="2741065"/>
                  <a:pt x="997418" y="2738313"/>
                  <a:pt x="996042" y="2734185"/>
                </a:cubicBezTo>
                <a:cubicBezTo>
                  <a:pt x="994666" y="2732809"/>
                  <a:pt x="993291" y="2730057"/>
                  <a:pt x="991915" y="2728681"/>
                </a:cubicBezTo>
                <a:cubicBezTo>
                  <a:pt x="943764" y="2644743"/>
                  <a:pt x="899740" y="2569061"/>
                  <a:pt x="861219" y="2501635"/>
                </a:cubicBezTo>
                <a:cubicBezTo>
                  <a:pt x="595699" y="2040663"/>
                  <a:pt x="524160" y="1918195"/>
                  <a:pt x="258641" y="1458599"/>
                </a:cubicBezTo>
                <a:cubicBezTo>
                  <a:pt x="220120" y="1391173"/>
                  <a:pt x="177472" y="1318243"/>
                  <a:pt x="130696" y="1234305"/>
                </a:cubicBezTo>
                <a:cubicBezTo>
                  <a:pt x="126569" y="1228801"/>
                  <a:pt x="122442" y="1221921"/>
                  <a:pt x="118315" y="1215041"/>
                </a:cubicBezTo>
                <a:cubicBezTo>
                  <a:pt x="42649" y="1084317"/>
                  <a:pt x="2752" y="937081"/>
                  <a:pt x="0" y="787093"/>
                </a:cubicBezTo>
                <a:cubicBezTo>
                  <a:pt x="0" y="777461"/>
                  <a:pt x="0" y="767829"/>
                  <a:pt x="0" y="758196"/>
                </a:cubicBezTo>
                <a:cubicBezTo>
                  <a:pt x="1376" y="612336"/>
                  <a:pt x="39897" y="465101"/>
                  <a:pt x="118315" y="330249"/>
                </a:cubicBezTo>
                <a:cubicBezTo>
                  <a:pt x="196732" y="195397"/>
                  <a:pt x="304041" y="88067"/>
                  <a:pt x="429234" y="13761"/>
                </a:cubicBezTo>
                <a:cubicBezTo>
                  <a:pt x="437488" y="9632"/>
                  <a:pt x="445743" y="5504"/>
                  <a:pt x="453997" y="0"/>
                </a:cubicBezTo>
                <a:close/>
              </a:path>
            </a:pathLst>
          </a:custGeom>
        </p:spPr>
        <p:txBody>
          <a:bodyPr wrap="square" tIns="176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F39E32-B5DC-1A0F-FE03-D516787C61A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46366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background with circles&#10;&#10;Description automatically generated">
            <a:extLst>
              <a:ext uri="{FF2B5EF4-FFF2-40B4-BE49-F238E27FC236}">
                <a16:creationId xmlns:a16="http://schemas.microsoft.com/office/drawing/2014/main" id="{9B766DFA-E0BC-C5FD-80A0-412708AC2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107" y="0"/>
            <a:ext cx="523089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16A8C1-385A-FC93-A973-EE9DEE4C9B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95278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Picture 10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5B3C8BB0-8ED8-BDC1-E290-09F266D75D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7874D4D-5560-51DA-891E-7FA0C2E6EC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355736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39D8E-4140-1FAB-7479-6231CA188B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BBE-05C7-4083-A849-9413DA7CD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ue and orange triangle&#10;&#10;Description automatically generated">
            <a:extLst>
              <a:ext uri="{FF2B5EF4-FFF2-40B4-BE49-F238E27FC236}">
                <a16:creationId xmlns:a16="http://schemas.microsoft.com/office/drawing/2014/main" id="{E10F1A70-AC56-37C5-4032-BA65164EF4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850" y="0"/>
            <a:ext cx="57721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632FEF-3500-BBEB-544E-998F0101D8B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715250" y="-2"/>
            <a:ext cx="4476750" cy="5069657"/>
          </a:xfrm>
          <a:custGeom>
            <a:avLst/>
            <a:gdLst>
              <a:gd name="connsiteX0" fmla="*/ 3625174 w 4884974"/>
              <a:gd name="connsiteY0" fmla="*/ 0 h 5531947"/>
              <a:gd name="connsiteX1" fmla="*/ 4884974 w 4884974"/>
              <a:gd name="connsiteY1" fmla="*/ 0 h 5531947"/>
              <a:gd name="connsiteX2" fmla="*/ 4884974 w 4884974"/>
              <a:gd name="connsiteY2" fmla="*/ 5531947 h 5531947"/>
              <a:gd name="connsiteX3" fmla="*/ 1296191 w 4884974"/>
              <a:gd name="connsiteY3" fmla="*/ 4570397 h 5531947"/>
              <a:gd name="connsiteX4" fmla="*/ 809253 w 4884974"/>
              <a:gd name="connsiteY4" fmla="*/ 4400610 h 5531947"/>
              <a:gd name="connsiteX5" fmla="*/ 547589 w 4884974"/>
              <a:gd name="connsiteY5" fmla="*/ 4263740 h 5531947"/>
              <a:gd name="connsiteX6" fmla="*/ 393363 w 4884974"/>
              <a:gd name="connsiteY6" fmla="*/ 4164986 h 5531947"/>
              <a:gd name="connsiteX7" fmla="*/ 391630 w 4884974"/>
              <a:gd name="connsiteY7" fmla="*/ 4163254 h 5531947"/>
              <a:gd name="connsiteX8" fmla="*/ 389897 w 4884974"/>
              <a:gd name="connsiteY8" fmla="*/ 4161521 h 5531947"/>
              <a:gd name="connsiteX9" fmla="*/ 377767 w 4884974"/>
              <a:gd name="connsiteY9" fmla="*/ 4152859 h 5531947"/>
              <a:gd name="connsiteX10" fmla="*/ 372568 w 4884974"/>
              <a:gd name="connsiteY10" fmla="*/ 4151126 h 5531947"/>
              <a:gd name="connsiteX11" fmla="*/ 370835 w 4884974"/>
              <a:gd name="connsiteY11" fmla="*/ 4149394 h 5531947"/>
              <a:gd name="connsiteX12" fmla="*/ 367370 w 4884974"/>
              <a:gd name="connsiteY12" fmla="*/ 4147661 h 5531947"/>
              <a:gd name="connsiteX13" fmla="*/ 360438 w 4884974"/>
              <a:gd name="connsiteY13" fmla="*/ 4142463 h 5531947"/>
              <a:gd name="connsiteX14" fmla="*/ 355239 w 4884974"/>
              <a:gd name="connsiteY14" fmla="*/ 4138998 h 5531947"/>
              <a:gd name="connsiteX15" fmla="*/ 351774 w 4884974"/>
              <a:gd name="connsiteY15" fmla="*/ 4135533 h 5531947"/>
              <a:gd name="connsiteX16" fmla="*/ 343109 w 4884974"/>
              <a:gd name="connsiteY16" fmla="*/ 4130336 h 5531947"/>
              <a:gd name="connsiteX17" fmla="*/ 332712 w 4884974"/>
              <a:gd name="connsiteY17" fmla="*/ 4123406 h 5531947"/>
              <a:gd name="connsiteX18" fmla="*/ 325781 w 4884974"/>
              <a:gd name="connsiteY18" fmla="*/ 4118208 h 5531947"/>
              <a:gd name="connsiteX19" fmla="*/ 322315 w 4884974"/>
              <a:gd name="connsiteY19" fmla="*/ 4114743 h 5531947"/>
              <a:gd name="connsiteX20" fmla="*/ 315383 w 4884974"/>
              <a:gd name="connsiteY20" fmla="*/ 4109545 h 5531947"/>
              <a:gd name="connsiteX21" fmla="*/ 308452 w 4884974"/>
              <a:gd name="connsiteY21" fmla="*/ 4104348 h 5531947"/>
              <a:gd name="connsiteX22" fmla="*/ 299787 w 4884974"/>
              <a:gd name="connsiteY22" fmla="*/ 4099150 h 5531947"/>
              <a:gd name="connsiteX23" fmla="*/ 296322 w 4884974"/>
              <a:gd name="connsiteY23" fmla="*/ 4095685 h 5531947"/>
              <a:gd name="connsiteX24" fmla="*/ 291123 w 4884974"/>
              <a:gd name="connsiteY24" fmla="*/ 4090488 h 5531947"/>
              <a:gd name="connsiteX25" fmla="*/ 285924 w 4884974"/>
              <a:gd name="connsiteY25" fmla="*/ 4088755 h 5531947"/>
              <a:gd name="connsiteX26" fmla="*/ 278993 w 4884974"/>
              <a:gd name="connsiteY26" fmla="*/ 4081825 h 5531947"/>
              <a:gd name="connsiteX27" fmla="*/ 275527 w 4884974"/>
              <a:gd name="connsiteY27" fmla="*/ 4080093 h 5531947"/>
              <a:gd name="connsiteX28" fmla="*/ 272061 w 4884974"/>
              <a:gd name="connsiteY28" fmla="*/ 4076628 h 5531947"/>
              <a:gd name="connsiteX29" fmla="*/ 266863 w 4884974"/>
              <a:gd name="connsiteY29" fmla="*/ 4073162 h 5531947"/>
              <a:gd name="connsiteX30" fmla="*/ 259931 w 4884974"/>
              <a:gd name="connsiteY30" fmla="*/ 4067965 h 5531947"/>
              <a:gd name="connsiteX31" fmla="*/ 256466 w 4884974"/>
              <a:gd name="connsiteY31" fmla="*/ 4064500 h 5531947"/>
              <a:gd name="connsiteX32" fmla="*/ 242603 w 4884974"/>
              <a:gd name="connsiteY32" fmla="*/ 4054105 h 5531947"/>
              <a:gd name="connsiteX33" fmla="*/ 239137 w 4884974"/>
              <a:gd name="connsiteY33" fmla="*/ 4050640 h 5531947"/>
              <a:gd name="connsiteX34" fmla="*/ 228740 w 4884974"/>
              <a:gd name="connsiteY34" fmla="*/ 4043710 h 5531947"/>
              <a:gd name="connsiteX35" fmla="*/ 223541 w 4884974"/>
              <a:gd name="connsiteY35" fmla="*/ 4038512 h 5531947"/>
              <a:gd name="connsiteX36" fmla="*/ 206212 w 4884974"/>
              <a:gd name="connsiteY36" fmla="*/ 4024652 h 5531947"/>
              <a:gd name="connsiteX37" fmla="*/ 201014 w 4884974"/>
              <a:gd name="connsiteY37" fmla="*/ 4021187 h 5531947"/>
              <a:gd name="connsiteX38" fmla="*/ 195815 w 4884974"/>
              <a:gd name="connsiteY38" fmla="*/ 4015989 h 5531947"/>
              <a:gd name="connsiteX39" fmla="*/ 187151 w 4884974"/>
              <a:gd name="connsiteY39" fmla="*/ 4009059 h 5531947"/>
              <a:gd name="connsiteX40" fmla="*/ 157692 w 4884974"/>
              <a:gd name="connsiteY40" fmla="*/ 3984804 h 5531947"/>
              <a:gd name="connsiteX41" fmla="*/ 97041 w 4884974"/>
              <a:gd name="connsiteY41" fmla="*/ 3931096 h 5531947"/>
              <a:gd name="connsiteX42" fmla="*/ 31192 w 4884974"/>
              <a:gd name="connsiteY42" fmla="*/ 3870457 h 5531947"/>
              <a:gd name="connsiteX43" fmla="*/ 0 w 4884974"/>
              <a:gd name="connsiteY43" fmla="*/ 3839272 h 5531947"/>
              <a:gd name="connsiteX44" fmla="*/ 0 w 4884974"/>
              <a:gd name="connsiteY44" fmla="*/ 3835807 h 5531947"/>
              <a:gd name="connsiteX45" fmla="*/ 3466 w 4884974"/>
              <a:gd name="connsiteY45" fmla="*/ 3825412 h 5531947"/>
              <a:gd name="connsiteX46" fmla="*/ 20795 w 4884974"/>
              <a:gd name="connsiteY46" fmla="*/ 3764773 h 5531947"/>
              <a:gd name="connsiteX47" fmla="*/ 25993 w 4884974"/>
              <a:gd name="connsiteY47" fmla="*/ 3745716 h 5531947"/>
              <a:gd name="connsiteX48" fmla="*/ 72781 w 4884974"/>
              <a:gd name="connsiteY48" fmla="*/ 3589788 h 5531947"/>
              <a:gd name="connsiteX49" fmla="*/ 77979 w 4884974"/>
              <a:gd name="connsiteY49" fmla="*/ 3570731 h 5531947"/>
              <a:gd name="connsiteX50" fmla="*/ 98774 w 4884974"/>
              <a:gd name="connsiteY50" fmla="*/ 3511825 h 5531947"/>
              <a:gd name="connsiteX51" fmla="*/ 105705 w 4884974"/>
              <a:gd name="connsiteY51" fmla="*/ 3491035 h 5531947"/>
              <a:gd name="connsiteX52" fmla="*/ 131699 w 4884974"/>
              <a:gd name="connsiteY52" fmla="*/ 3414804 h 5531947"/>
              <a:gd name="connsiteX53" fmla="*/ 159425 w 4884974"/>
              <a:gd name="connsiteY53" fmla="*/ 3338573 h 5531947"/>
              <a:gd name="connsiteX54" fmla="*/ 166356 w 4884974"/>
              <a:gd name="connsiteY54" fmla="*/ 3317782 h 5531947"/>
              <a:gd name="connsiteX55" fmla="*/ 188883 w 4884974"/>
              <a:gd name="connsiteY55" fmla="*/ 3260609 h 5531947"/>
              <a:gd name="connsiteX56" fmla="*/ 197548 w 4884974"/>
              <a:gd name="connsiteY56" fmla="*/ 3239819 h 5531947"/>
              <a:gd name="connsiteX57" fmla="*/ 227007 w 4884974"/>
              <a:gd name="connsiteY57" fmla="*/ 3165320 h 5531947"/>
              <a:gd name="connsiteX58" fmla="*/ 258198 w 4884974"/>
              <a:gd name="connsiteY58" fmla="*/ 3089089 h 5531947"/>
              <a:gd name="connsiteX59" fmla="*/ 266863 w 4884974"/>
              <a:gd name="connsiteY59" fmla="*/ 3070031 h 5531947"/>
              <a:gd name="connsiteX60" fmla="*/ 291123 w 4884974"/>
              <a:gd name="connsiteY60" fmla="*/ 3012858 h 5531947"/>
              <a:gd name="connsiteX61" fmla="*/ 301520 w 4884974"/>
              <a:gd name="connsiteY61" fmla="*/ 2992068 h 5531947"/>
              <a:gd name="connsiteX62" fmla="*/ 334445 w 4884974"/>
              <a:gd name="connsiteY62" fmla="*/ 2919302 h 5531947"/>
              <a:gd name="connsiteX63" fmla="*/ 370835 w 4884974"/>
              <a:gd name="connsiteY63" fmla="*/ 2844803 h 5531947"/>
              <a:gd name="connsiteX64" fmla="*/ 379500 w 4884974"/>
              <a:gd name="connsiteY64" fmla="*/ 2825746 h 5531947"/>
              <a:gd name="connsiteX65" fmla="*/ 407226 w 4884974"/>
              <a:gd name="connsiteY65" fmla="*/ 2770305 h 5531947"/>
              <a:gd name="connsiteX66" fmla="*/ 417623 w 4884974"/>
              <a:gd name="connsiteY66" fmla="*/ 2749515 h 5531947"/>
              <a:gd name="connsiteX67" fmla="*/ 493869 w 4884974"/>
              <a:gd name="connsiteY67" fmla="*/ 2605715 h 5531947"/>
              <a:gd name="connsiteX68" fmla="*/ 504267 w 4884974"/>
              <a:gd name="connsiteY68" fmla="*/ 2586657 h 5531947"/>
              <a:gd name="connsiteX69" fmla="*/ 535458 w 4884974"/>
              <a:gd name="connsiteY69" fmla="*/ 2531217 h 5531947"/>
              <a:gd name="connsiteX70" fmla="*/ 545856 w 4884974"/>
              <a:gd name="connsiteY70" fmla="*/ 2512159 h 5531947"/>
              <a:gd name="connsiteX71" fmla="*/ 630767 w 4884974"/>
              <a:gd name="connsiteY71" fmla="*/ 2370092 h 5531947"/>
              <a:gd name="connsiteX72" fmla="*/ 642897 w 4884974"/>
              <a:gd name="connsiteY72" fmla="*/ 2351034 h 5531947"/>
              <a:gd name="connsiteX73" fmla="*/ 675821 w 4884974"/>
              <a:gd name="connsiteY73" fmla="*/ 2297326 h 5531947"/>
              <a:gd name="connsiteX74" fmla="*/ 687951 w 4884974"/>
              <a:gd name="connsiteY74" fmla="*/ 2280001 h 5531947"/>
              <a:gd name="connsiteX75" fmla="*/ 779794 w 4884974"/>
              <a:gd name="connsiteY75" fmla="*/ 2141399 h 5531947"/>
              <a:gd name="connsiteX76" fmla="*/ 791924 w 4884974"/>
              <a:gd name="connsiteY76" fmla="*/ 2122341 h 5531947"/>
              <a:gd name="connsiteX77" fmla="*/ 828314 w 4884974"/>
              <a:gd name="connsiteY77" fmla="*/ 2070366 h 5531947"/>
              <a:gd name="connsiteX78" fmla="*/ 842177 w 4884974"/>
              <a:gd name="connsiteY78" fmla="*/ 2051308 h 5531947"/>
              <a:gd name="connsiteX79" fmla="*/ 940951 w 4884974"/>
              <a:gd name="connsiteY79" fmla="*/ 1917904 h 5531947"/>
              <a:gd name="connsiteX80" fmla="*/ 954814 w 4884974"/>
              <a:gd name="connsiteY80" fmla="*/ 1898846 h 5531947"/>
              <a:gd name="connsiteX81" fmla="*/ 994670 w 4884974"/>
              <a:gd name="connsiteY81" fmla="*/ 1848603 h 5531947"/>
              <a:gd name="connsiteX82" fmla="*/ 1008533 w 4884974"/>
              <a:gd name="connsiteY82" fmla="*/ 1831277 h 5531947"/>
              <a:gd name="connsiteX83" fmla="*/ 1114239 w 4884974"/>
              <a:gd name="connsiteY83" fmla="*/ 1701338 h 5531947"/>
              <a:gd name="connsiteX84" fmla="*/ 1129835 w 4884974"/>
              <a:gd name="connsiteY84" fmla="*/ 1682280 h 5531947"/>
              <a:gd name="connsiteX85" fmla="*/ 1171424 w 4884974"/>
              <a:gd name="connsiteY85" fmla="*/ 1633770 h 5531947"/>
              <a:gd name="connsiteX86" fmla="*/ 1187019 w 4884974"/>
              <a:gd name="connsiteY86" fmla="*/ 1616444 h 5531947"/>
              <a:gd name="connsiteX87" fmla="*/ 1301389 w 4884974"/>
              <a:gd name="connsiteY87" fmla="*/ 1489970 h 5531947"/>
              <a:gd name="connsiteX88" fmla="*/ 1318718 w 4884974"/>
              <a:gd name="connsiteY88" fmla="*/ 1472645 h 5531947"/>
              <a:gd name="connsiteX89" fmla="*/ 1362040 w 4884974"/>
              <a:gd name="connsiteY89" fmla="*/ 1427599 h 5531947"/>
              <a:gd name="connsiteX90" fmla="*/ 1379369 w 4884974"/>
              <a:gd name="connsiteY90" fmla="*/ 1408542 h 5531947"/>
              <a:gd name="connsiteX91" fmla="*/ 1436553 w 4884974"/>
              <a:gd name="connsiteY91" fmla="*/ 1349636 h 5531947"/>
              <a:gd name="connsiteX92" fmla="*/ 1438286 w 4884974"/>
              <a:gd name="connsiteY92" fmla="*/ 1347903 h 5531947"/>
              <a:gd name="connsiteX93" fmla="*/ 3625174 w 4884974"/>
              <a:gd name="connsiteY93" fmla="*/ 0 h 553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4884974" h="5531947">
                <a:moveTo>
                  <a:pt x="3625174" y="0"/>
                </a:moveTo>
                <a:lnTo>
                  <a:pt x="4884974" y="0"/>
                </a:lnTo>
                <a:cubicBezTo>
                  <a:pt x="4884974" y="0"/>
                  <a:pt x="4884974" y="0"/>
                  <a:pt x="4884974" y="5531947"/>
                </a:cubicBezTo>
                <a:cubicBezTo>
                  <a:pt x="3732612" y="5223558"/>
                  <a:pt x="3193688" y="5079759"/>
                  <a:pt x="1296191" y="4570397"/>
                </a:cubicBezTo>
                <a:cubicBezTo>
                  <a:pt x="1128102" y="4528816"/>
                  <a:pt x="965211" y="4471643"/>
                  <a:pt x="809253" y="4400610"/>
                </a:cubicBezTo>
                <a:cubicBezTo>
                  <a:pt x="720876" y="4359029"/>
                  <a:pt x="632499" y="4313983"/>
                  <a:pt x="547589" y="4263740"/>
                </a:cubicBezTo>
                <a:cubicBezTo>
                  <a:pt x="493869" y="4232555"/>
                  <a:pt x="443616" y="4199637"/>
                  <a:pt x="393363" y="4164986"/>
                </a:cubicBezTo>
                <a:cubicBezTo>
                  <a:pt x="391630" y="4164986"/>
                  <a:pt x="391630" y="4163254"/>
                  <a:pt x="391630" y="4163254"/>
                </a:cubicBezTo>
                <a:cubicBezTo>
                  <a:pt x="391630" y="4163254"/>
                  <a:pt x="389897" y="4163254"/>
                  <a:pt x="389897" y="4161521"/>
                </a:cubicBezTo>
                <a:cubicBezTo>
                  <a:pt x="384698" y="4159789"/>
                  <a:pt x="381233" y="4156324"/>
                  <a:pt x="377767" y="4152859"/>
                </a:cubicBezTo>
                <a:cubicBezTo>
                  <a:pt x="376034" y="4152859"/>
                  <a:pt x="374301" y="4151126"/>
                  <a:pt x="372568" y="4151126"/>
                </a:cubicBezTo>
                <a:cubicBezTo>
                  <a:pt x="372568" y="4149394"/>
                  <a:pt x="370835" y="4149394"/>
                  <a:pt x="370835" y="4149394"/>
                </a:cubicBezTo>
                <a:cubicBezTo>
                  <a:pt x="369102" y="4147661"/>
                  <a:pt x="369102" y="4147661"/>
                  <a:pt x="367370" y="4147661"/>
                </a:cubicBezTo>
                <a:cubicBezTo>
                  <a:pt x="365637" y="4145928"/>
                  <a:pt x="362171" y="4144196"/>
                  <a:pt x="360438" y="4142463"/>
                </a:cubicBezTo>
                <a:cubicBezTo>
                  <a:pt x="358705" y="4140731"/>
                  <a:pt x="356972" y="4138998"/>
                  <a:pt x="355239" y="4138998"/>
                </a:cubicBezTo>
                <a:cubicBezTo>
                  <a:pt x="353507" y="4137266"/>
                  <a:pt x="353507" y="4137266"/>
                  <a:pt x="351774" y="4135533"/>
                </a:cubicBezTo>
                <a:cubicBezTo>
                  <a:pt x="348308" y="4133801"/>
                  <a:pt x="346575" y="4132068"/>
                  <a:pt x="343109" y="4130336"/>
                </a:cubicBezTo>
                <a:cubicBezTo>
                  <a:pt x="339644" y="4126871"/>
                  <a:pt x="336178" y="4125138"/>
                  <a:pt x="332712" y="4123406"/>
                </a:cubicBezTo>
                <a:cubicBezTo>
                  <a:pt x="330979" y="4121673"/>
                  <a:pt x="329246" y="4119941"/>
                  <a:pt x="325781" y="4118208"/>
                </a:cubicBezTo>
                <a:cubicBezTo>
                  <a:pt x="324048" y="4116476"/>
                  <a:pt x="324048" y="4114743"/>
                  <a:pt x="322315" y="4114743"/>
                </a:cubicBezTo>
                <a:cubicBezTo>
                  <a:pt x="318849" y="4113011"/>
                  <a:pt x="317116" y="4111278"/>
                  <a:pt x="315383" y="4109545"/>
                </a:cubicBezTo>
                <a:cubicBezTo>
                  <a:pt x="313650" y="4107813"/>
                  <a:pt x="310185" y="4106080"/>
                  <a:pt x="308452" y="4104348"/>
                </a:cubicBezTo>
                <a:cubicBezTo>
                  <a:pt x="304986" y="4102615"/>
                  <a:pt x="303253" y="4100883"/>
                  <a:pt x="299787" y="4099150"/>
                </a:cubicBezTo>
                <a:cubicBezTo>
                  <a:pt x="299787" y="4097418"/>
                  <a:pt x="298055" y="4097418"/>
                  <a:pt x="296322" y="4095685"/>
                </a:cubicBezTo>
                <a:cubicBezTo>
                  <a:pt x="294589" y="4093953"/>
                  <a:pt x="292856" y="4092220"/>
                  <a:pt x="291123" y="4090488"/>
                </a:cubicBezTo>
                <a:cubicBezTo>
                  <a:pt x="289390" y="4090488"/>
                  <a:pt x="287657" y="4088755"/>
                  <a:pt x="285924" y="4088755"/>
                </a:cubicBezTo>
                <a:cubicBezTo>
                  <a:pt x="284192" y="4085290"/>
                  <a:pt x="280726" y="4083558"/>
                  <a:pt x="278993" y="4081825"/>
                </a:cubicBezTo>
                <a:cubicBezTo>
                  <a:pt x="277260" y="4081825"/>
                  <a:pt x="277260" y="4080093"/>
                  <a:pt x="275527" y="4080093"/>
                </a:cubicBezTo>
                <a:cubicBezTo>
                  <a:pt x="275527" y="4078360"/>
                  <a:pt x="273794" y="4078360"/>
                  <a:pt x="272061" y="4076628"/>
                </a:cubicBezTo>
                <a:cubicBezTo>
                  <a:pt x="270329" y="4076628"/>
                  <a:pt x="268596" y="4074895"/>
                  <a:pt x="266863" y="4073162"/>
                </a:cubicBezTo>
                <a:cubicBezTo>
                  <a:pt x="265130" y="4071430"/>
                  <a:pt x="263397" y="4069697"/>
                  <a:pt x="259931" y="4067965"/>
                </a:cubicBezTo>
                <a:cubicBezTo>
                  <a:pt x="258198" y="4066232"/>
                  <a:pt x="256466" y="4066232"/>
                  <a:pt x="256466" y="4064500"/>
                </a:cubicBezTo>
                <a:cubicBezTo>
                  <a:pt x="251267" y="4061035"/>
                  <a:pt x="246068" y="4057570"/>
                  <a:pt x="242603" y="4054105"/>
                </a:cubicBezTo>
                <a:cubicBezTo>
                  <a:pt x="240870" y="4052372"/>
                  <a:pt x="239137" y="4052372"/>
                  <a:pt x="239137" y="4050640"/>
                </a:cubicBezTo>
                <a:cubicBezTo>
                  <a:pt x="235671" y="4048907"/>
                  <a:pt x="232205" y="4045442"/>
                  <a:pt x="228740" y="4043710"/>
                </a:cubicBezTo>
                <a:cubicBezTo>
                  <a:pt x="227007" y="4041977"/>
                  <a:pt x="225274" y="4040245"/>
                  <a:pt x="223541" y="4038512"/>
                </a:cubicBezTo>
                <a:cubicBezTo>
                  <a:pt x="216609" y="4033314"/>
                  <a:pt x="211411" y="4028117"/>
                  <a:pt x="206212" y="4024652"/>
                </a:cubicBezTo>
                <a:cubicBezTo>
                  <a:pt x="204479" y="4022919"/>
                  <a:pt x="202746" y="4022919"/>
                  <a:pt x="201014" y="4021187"/>
                </a:cubicBezTo>
                <a:cubicBezTo>
                  <a:pt x="199281" y="4019454"/>
                  <a:pt x="197548" y="4017722"/>
                  <a:pt x="195815" y="4015989"/>
                </a:cubicBezTo>
                <a:cubicBezTo>
                  <a:pt x="192349" y="4014257"/>
                  <a:pt x="190616" y="4012524"/>
                  <a:pt x="187151" y="4009059"/>
                </a:cubicBezTo>
                <a:cubicBezTo>
                  <a:pt x="176753" y="4000396"/>
                  <a:pt x="168089" y="3993466"/>
                  <a:pt x="157692" y="3984804"/>
                </a:cubicBezTo>
                <a:cubicBezTo>
                  <a:pt x="136897" y="3967479"/>
                  <a:pt x="117836" y="3950153"/>
                  <a:pt x="97041" y="3931096"/>
                </a:cubicBezTo>
                <a:cubicBezTo>
                  <a:pt x="76247" y="3912038"/>
                  <a:pt x="53719" y="3891248"/>
                  <a:pt x="31192" y="3870457"/>
                </a:cubicBezTo>
                <a:cubicBezTo>
                  <a:pt x="20795" y="3858330"/>
                  <a:pt x="10397" y="3849667"/>
                  <a:pt x="0" y="3839272"/>
                </a:cubicBezTo>
                <a:cubicBezTo>
                  <a:pt x="0" y="3839272"/>
                  <a:pt x="0" y="3839272"/>
                  <a:pt x="0" y="3835807"/>
                </a:cubicBezTo>
                <a:cubicBezTo>
                  <a:pt x="1733" y="3832342"/>
                  <a:pt x="1733" y="3828877"/>
                  <a:pt x="3466" y="3825412"/>
                </a:cubicBezTo>
                <a:cubicBezTo>
                  <a:pt x="8664" y="3806354"/>
                  <a:pt x="13863" y="3785564"/>
                  <a:pt x="20795" y="3764773"/>
                </a:cubicBezTo>
                <a:cubicBezTo>
                  <a:pt x="22527" y="3757843"/>
                  <a:pt x="24260" y="3750913"/>
                  <a:pt x="25993" y="3745716"/>
                </a:cubicBezTo>
                <a:cubicBezTo>
                  <a:pt x="39856" y="3693740"/>
                  <a:pt x="55452" y="3641764"/>
                  <a:pt x="72781" y="3589788"/>
                </a:cubicBezTo>
                <a:cubicBezTo>
                  <a:pt x="74514" y="3582858"/>
                  <a:pt x="76247" y="3577661"/>
                  <a:pt x="77979" y="3570731"/>
                </a:cubicBezTo>
                <a:cubicBezTo>
                  <a:pt x="84911" y="3549940"/>
                  <a:pt x="91842" y="3530883"/>
                  <a:pt x="98774" y="3511825"/>
                </a:cubicBezTo>
                <a:cubicBezTo>
                  <a:pt x="100507" y="3504895"/>
                  <a:pt x="102240" y="3497965"/>
                  <a:pt x="105705" y="3491035"/>
                </a:cubicBezTo>
                <a:cubicBezTo>
                  <a:pt x="114370" y="3465047"/>
                  <a:pt x="123034" y="3440791"/>
                  <a:pt x="131699" y="3414804"/>
                </a:cubicBezTo>
                <a:cubicBezTo>
                  <a:pt x="140363" y="3388816"/>
                  <a:pt x="149027" y="3362828"/>
                  <a:pt x="159425" y="3338573"/>
                </a:cubicBezTo>
                <a:cubicBezTo>
                  <a:pt x="161157" y="3331642"/>
                  <a:pt x="164623" y="3324712"/>
                  <a:pt x="166356" y="3317782"/>
                </a:cubicBezTo>
                <a:cubicBezTo>
                  <a:pt x="173288" y="3298725"/>
                  <a:pt x="181952" y="3279667"/>
                  <a:pt x="188883" y="3260609"/>
                </a:cubicBezTo>
                <a:cubicBezTo>
                  <a:pt x="190616" y="3253679"/>
                  <a:pt x="194082" y="3246749"/>
                  <a:pt x="197548" y="3239819"/>
                </a:cubicBezTo>
                <a:cubicBezTo>
                  <a:pt x="206212" y="3215563"/>
                  <a:pt x="216609" y="3189576"/>
                  <a:pt x="227007" y="3165320"/>
                </a:cubicBezTo>
                <a:cubicBezTo>
                  <a:pt x="237404" y="3139332"/>
                  <a:pt x="247801" y="3115077"/>
                  <a:pt x="258198" y="3089089"/>
                </a:cubicBezTo>
                <a:cubicBezTo>
                  <a:pt x="261664" y="3083892"/>
                  <a:pt x="263397" y="3076962"/>
                  <a:pt x="266863" y="3070031"/>
                </a:cubicBezTo>
                <a:cubicBezTo>
                  <a:pt x="275527" y="3050974"/>
                  <a:pt x="284192" y="3031916"/>
                  <a:pt x="291123" y="3012858"/>
                </a:cubicBezTo>
                <a:cubicBezTo>
                  <a:pt x="294589" y="3005928"/>
                  <a:pt x="298055" y="2998998"/>
                  <a:pt x="301520" y="2992068"/>
                </a:cubicBezTo>
                <a:cubicBezTo>
                  <a:pt x="311918" y="2967813"/>
                  <a:pt x="324048" y="2943557"/>
                  <a:pt x="334445" y="2919302"/>
                </a:cubicBezTo>
                <a:cubicBezTo>
                  <a:pt x="346575" y="2895047"/>
                  <a:pt x="358705" y="2869059"/>
                  <a:pt x="370835" y="2844803"/>
                </a:cubicBezTo>
                <a:cubicBezTo>
                  <a:pt x="372568" y="2839606"/>
                  <a:pt x="376034" y="2832676"/>
                  <a:pt x="379500" y="2825746"/>
                </a:cubicBezTo>
                <a:cubicBezTo>
                  <a:pt x="388164" y="2806688"/>
                  <a:pt x="398561" y="2789363"/>
                  <a:pt x="407226" y="2770305"/>
                </a:cubicBezTo>
                <a:cubicBezTo>
                  <a:pt x="410691" y="2763375"/>
                  <a:pt x="414157" y="2756445"/>
                  <a:pt x="417623" y="2749515"/>
                </a:cubicBezTo>
                <a:cubicBezTo>
                  <a:pt x="441883" y="2701004"/>
                  <a:pt x="467876" y="2652493"/>
                  <a:pt x="493869" y="2605715"/>
                </a:cubicBezTo>
                <a:cubicBezTo>
                  <a:pt x="497335" y="2598785"/>
                  <a:pt x="500801" y="2591855"/>
                  <a:pt x="504267" y="2586657"/>
                </a:cubicBezTo>
                <a:cubicBezTo>
                  <a:pt x="514664" y="2567600"/>
                  <a:pt x="525061" y="2550274"/>
                  <a:pt x="535458" y="2531217"/>
                </a:cubicBezTo>
                <a:cubicBezTo>
                  <a:pt x="538924" y="2524287"/>
                  <a:pt x="542390" y="2519089"/>
                  <a:pt x="545856" y="2512159"/>
                </a:cubicBezTo>
                <a:cubicBezTo>
                  <a:pt x="573582" y="2463648"/>
                  <a:pt x="601308" y="2416870"/>
                  <a:pt x="630767" y="2370092"/>
                </a:cubicBezTo>
                <a:cubicBezTo>
                  <a:pt x="634232" y="2364894"/>
                  <a:pt x="637698" y="2357964"/>
                  <a:pt x="642897" y="2351034"/>
                </a:cubicBezTo>
                <a:cubicBezTo>
                  <a:pt x="653294" y="2333709"/>
                  <a:pt x="665424" y="2316384"/>
                  <a:pt x="675821" y="2297326"/>
                </a:cubicBezTo>
                <a:cubicBezTo>
                  <a:pt x="679287" y="2292128"/>
                  <a:pt x="684486" y="2285198"/>
                  <a:pt x="687951" y="2280001"/>
                </a:cubicBezTo>
                <a:cubicBezTo>
                  <a:pt x="717410" y="2233223"/>
                  <a:pt x="748602" y="2186445"/>
                  <a:pt x="779794" y="2141399"/>
                </a:cubicBezTo>
                <a:cubicBezTo>
                  <a:pt x="783260" y="2134469"/>
                  <a:pt x="788458" y="2129271"/>
                  <a:pt x="791924" y="2122341"/>
                </a:cubicBezTo>
                <a:cubicBezTo>
                  <a:pt x="804054" y="2105016"/>
                  <a:pt x="816184" y="2087691"/>
                  <a:pt x="828314" y="2070366"/>
                </a:cubicBezTo>
                <a:cubicBezTo>
                  <a:pt x="833513" y="2065168"/>
                  <a:pt x="836979" y="2058238"/>
                  <a:pt x="842177" y="2051308"/>
                </a:cubicBezTo>
                <a:cubicBezTo>
                  <a:pt x="875102" y="2006262"/>
                  <a:pt x="908027" y="1961217"/>
                  <a:pt x="940951" y="1917904"/>
                </a:cubicBezTo>
                <a:cubicBezTo>
                  <a:pt x="946150" y="1910973"/>
                  <a:pt x="951348" y="1905776"/>
                  <a:pt x="954814" y="1898846"/>
                </a:cubicBezTo>
                <a:cubicBezTo>
                  <a:pt x="968677" y="1883253"/>
                  <a:pt x="980807" y="1865928"/>
                  <a:pt x="994670" y="1848603"/>
                </a:cubicBezTo>
                <a:cubicBezTo>
                  <a:pt x="999869" y="1843405"/>
                  <a:pt x="1003335" y="1836475"/>
                  <a:pt x="1008533" y="1831277"/>
                </a:cubicBezTo>
                <a:cubicBezTo>
                  <a:pt x="1043191" y="1786232"/>
                  <a:pt x="1079581" y="1742919"/>
                  <a:pt x="1114239" y="1701338"/>
                </a:cubicBezTo>
                <a:cubicBezTo>
                  <a:pt x="1119437" y="1694408"/>
                  <a:pt x="1124636" y="1689210"/>
                  <a:pt x="1129835" y="1682280"/>
                </a:cubicBezTo>
                <a:cubicBezTo>
                  <a:pt x="1143698" y="1666688"/>
                  <a:pt x="1157561" y="1651095"/>
                  <a:pt x="1171424" y="1633770"/>
                </a:cubicBezTo>
                <a:cubicBezTo>
                  <a:pt x="1176622" y="1628572"/>
                  <a:pt x="1181821" y="1621642"/>
                  <a:pt x="1187019" y="1616444"/>
                </a:cubicBezTo>
                <a:cubicBezTo>
                  <a:pt x="1225143" y="1574864"/>
                  <a:pt x="1263266" y="1531551"/>
                  <a:pt x="1301389" y="1489970"/>
                </a:cubicBezTo>
                <a:cubicBezTo>
                  <a:pt x="1306588" y="1484773"/>
                  <a:pt x="1311786" y="1477843"/>
                  <a:pt x="1318718" y="1472645"/>
                </a:cubicBezTo>
                <a:cubicBezTo>
                  <a:pt x="1332581" y="1457052"/>
                  <a:pt x="1346444" y="1441460"/>
                  <a:pt x="1362040" y="1427599"/>
                </a:cubicBezTo>
                <a:cubicBezTo>
                  <a:pt x="1367238" y="1420669"/>
                  <a:pt x="1374170" y="1415472"/>
                  <a:pt x="1379369" y="1408542"/>
                </a:cubicBezTo>
                <a:cubicBezTo>
                  <a:pt x="1398430" y="1389484"/>
                  <a:pt x="1417492" y="1368694"/>
                  <a:pt x="1436553" y="1349636"/>
                </a:cubicBezTo>
                <a:cubicBezTo>
                  <a:pt x="1438286" y="1349636"/>
                  <a:pt x="1438286" y="1347903"/>
                  <a:pt x="1438286" y="1347903"/>
                </a:cubicBezTo>
                <a:cubicBezTo>
                  <a:pt x="2074251" y="712067"/>
                  <a:pt x="2826319" y="263344"/>
                  <a:pt x="3625174" y="0"/>
                </a:cubicBezTo>
                <a:close/>
              </a:path>
            </a:pathLst>
          </a:custGeom>
        </p:spPr>
        <p:txBody>
          <a:bodyPr wrap="square" tIns="2232000" anchor="t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39898F-060B-CC91-8A38-3BFBD5354C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56975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961795C-4FB4-1DBF-B2FF-C135024E7FB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-3487" t="24275" r="36846" b="22968"/>
          <a:stretch/>
        </p:blipFill>
        <p:spPr>
          <a:xfrm>
            <a:off x="6547164" y="0"/>
            <a:ext cx="5644837" cy="685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69A043F-EC5B-3888-7E67-3E0F750A412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9825" t="27472" b="16565"/>
          <a:stretch/>
        </p:blipFill>
        <p:spPr>
          <a:xfrm flipH="1">
            <a:off x="7378342" y="-26896"/>
            <a:ext cx="4840550" cy="688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5712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7F4C44-6C60-E7C8-7939-876180F32F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6011" r="25038" b="12622"/>
          <a:stretch/>
        </p:blipFill>
        <p:spPr>
          <a:xfrm>
            <a:off x="6957081" y="-13449"/>
            <a:ext cx="5247299" cy="688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2812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EE5F76A-EDD2-2CEE-5784-EFB92164D4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2447"/>
          <a:stretch/>
        </p:blipFill>
        <p:spPr>
          <a:xfrm>
            <a:off x="6270172" y="-11148"/>
            <a:ext cx="5959342" cy="68825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73770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59EBCC-B1E4-EAD3-432C-B443C192BEF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-1" t="6603" r="35729" b="10052"/>
          <a:stretch/>
        </p:blipFill>
        <p:spPr>
          <a:xfrm>
            <a:off x="6514138" y="-13445"/>
            <a:ext cx="5687802" cy="687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10231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1B67F3C-B23F-37FD-2273-51EAAF7FF8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20488" r="31419" b="6693"/>
          <a:stretch/>
        </p:blipFill>
        <p:spPr>
          <a:xfrm>
            <a:off x="6026568" y="-13447"/>
            <a:ext cx="6192326" cy="6871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85396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89675DD-EABB-93F2-6CB5-06B224AE502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720303" y="0"/>
            <a:ext cx="6471348" cy="6858000"/>
          </a:xfrm>
          <a:custGeom>
            <a:avLst/>
            <a:gdLst>
              <a:gd name="connsiteX0" fmla="*/ 1206092 w 4755846"/>
              <a:gd name="connsiteY0" fmla="*/ 0 h 5038725"/>
              <a:gd name="connsiteX1" fmla="*/ 3359508 w 4755846"/>
              <a:gd name="connsiteY1" fmla="*/ 0 h 5038725"/>
              <a:gd name="connsiteX2" fmla="*/ 4194745 w 4755846"/>
              <a:gd name="connsiteY2" fmla="*/ 565690 h 5038725"/>
              <a:gd name="connsiteX3" fmla="*/ 4755846 w 4755846"/>
              <a:gd name="connsiteY3" fmla="*/ 1347159 h 5038725"/>
              <a:gd name="connsiteX4" fmla="*/ 4755846 w 4755846"/>
              <a:gd name="connsiteY4" fmla="*/ 3775545 h 5038725"/>
              <a:gd name="connsiteX5" fmla="*/ 4233240 w 4755846"/>
              <a:gd name="connsiteY5" fmla="*/ 4519690 h 5038725"/>
              <a:gd name="connsiteX6" fmla="*/ 3533322 w 4755846"/>
              <a:gd name="connsiteY6" fmla="*/ 5038725 h 5038725"/>
              <a:gd name="connsiteX7" fmla="*/ 941290 w 4755846"/>
              <a:gd name="connsiteY7" fmla="*/ 5038725 h 5038725"/>
              <a:gd name="connsiteX8" fmla="*/ 281033 w 4755846"/>
              <a:gd name="connsiteY8" fmla="*/ 4558180 h 5038725"/>
              <a:gd name="connsiteX9" fmla="*/ 278700 w 4755846"/>
              <a:gd name="connsiteY9" fmla="*/ 4557014 h 5038725"/>
              <a:gd name="connsiteX10" fmla="*/ 25563 w 4755846"/>
              <a:gd name="connsiteY10" fmla="*/ 3674070 h 5038725"/>
              <a:gd name="connsiteX11" fmla="*/ 32562 w 4755846"/>
              <a:gd name="connsiteY11" fmla="*/ 3644911 h 5038725"/>
              <a:gd name="connsiteX12" fmla="*/ 267035 w 4755846"/>
              <a:gd name="connsiteY12" fmla="*/ 3239014 h 5038725"/>
              <a:gd name="connsiteX13" fmla="*/ 668321 w 4755846"/>
              <a:gd name="connsiteY13" fmla="*/ 2997575 h 5038725"/>
              <a:gd name="connsiteX14" fmla="*/ 696318 w 4755846"/>
              <a:gd name="connsiteY14" fmla="*/ 2990577 h 5038725"/>
              <a:gd name="connsiteX15" fmla="*/ 1097605 w 4755846"/>
              <a:gd name="connsiteY15" fmla="*/ 2749138 h 5038725"/>
              <a:gd name="connsiteX16" fmla="*/ 1330911 w 4755846"/>
              <a:gd name="connsiteY16" fmla="*/ 2343241 h 5038725"/>
              <a:gd name="connsiteX17" fmla="*/ 1337910 w 4755846"/>
              <a:gd name="connsiteY17" fmla="*/ 2314081 h 5038725"/>
              <a:gd name="connsiteX18" fmla="*/ 1084773 w 4755846"/>
              <a:gd name="connsiteY18" fmla="*/ 1431138 h 5038725"/>
              <a:gd name="connsiteX19" fmla="*/ 831636 w 4755846"/>
              <a:gd name="connsiteY19" fmla="*/ 548195 h 5038725"/>
              <a:gd name="connsiteX20" fmla="*/ 838635 w 4755846"/>
              <a:gd name="connsiteY20" fmla="*/ 519035 h 5038725"/>
              <a:gd name="connsiteX21" fmla="*/ 1071941 w 4755846"/>
              <a:gd name="connsiteY21" fmla="*/ 113138 h 5038725"/>
              <a:gd name="connsiteX22" fmla="*/ 1206092 w 4755846"/>
              <a:gd name="connsiteY22" fmla="*/ 0 h 5038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55846" h="5038725">
                <a:moveTo>
                  <a:pt x="1206092" y="0"/>
                </a:moveTo>
                <a:cubicBezTo>
                  <a:pt x="1206092" y="0"/>
                  <a:pt x="1206092" y="0"/>
                  <a:pt x="3359508" y="0"/>
                </a:cubicBezTo>
                <a:cubicBezTo>
                  <a:pt x="3661640" y="132967"/>
                  <a:pt x="3945107" y="320752"/>
                  <a:pt x="4194745" y="565690"/>
                </a:cubicBezTo>
                <a:cubicBezTo>
                  <a:pt x="4432717" y="798965"/>
                  <a:pt x="4619362" y="1063731"/>
                  <a:pt x="4755846" y="1347159"/>
                </a:cubicBezTo>
                <a:lnTo>
                  <a:pt x="4755846" y="3775545"/>
                </a:lnTo>
                <a:cubicBezTo>
                  <a:pt x="4627528" y="4043810"/>
                  <a:pt x="4452548" y="4295747"/>
                  <a:pt x="4233240" y="4519690"/>
                </a:cubicBezTo>
                <a:cubicBezTo>
                  <a:pt x="4022098" y="4733136"/>
                  <a:pt x="3786459" y="4906925"/>
                  <a:pt x="3533322" y="5038725"/>
                </a:cubicBezTo>
                <a:cubicBezTo>
                  <a:pt x="3533322" y="5038725"/>
                  <a:pt x="3533322" y="5038725"/>
                  <a:pt x="941290" y="5038725"/>
                </a:cubicBezTo>
                <a:cubicBezTo>
                  <a:pt x="704484" y="4915090"/>
                  <a:pt x="481676" y="4755297"/>
                  <a:pt x="281033" y="4558180"/>
                </a:cubicBezTo>
                <a:cubicBezTo>
                  <a:pt x="279866" y="4558180"/>
                  <a:pt x="279866" y="4557014"/>
                  <a:pt x="278700" y="4557014"/>
                </a:cubicBezTo>
                <a:cubicBezTo>
                  <a:pt x="37228" y="4319074"/>
                  <a:pt x="-47929" y="3980826"/>
                  <a:pt x="25563" y="3674070"/>
                </a:cubicBezTo>
                <a:cubicBezTo>
                  <a:pt x="27896" y="3663573"/>
                  <a:pt x="31395" y="3654242"/>
                  <a:pt x="32562" y="3644911"/>
                </a:cubicBezTo>
                <a:cubicBezTo>
                  <a:pt x="73390" y="3496782"/>
                  <a:pt x="151548" y="3356817"/>
                  <a:pt x="267035" y="3239014"/>
                </a:cubicBezTo>
                <a:cubicBezTo>
                  <a:pt x="381355" y="3122377"/>
                  <a:pt x="520172" y="3041897"/>
                  <a:pt x="668321" y="2997575"/>
                </a:cubicBezTo>
                <a:cubicBezTo>
                  <a:pt x="677654" y="2995242"/>
                  <a:pt x="686986" y="2992909"/>
                  <a:pt x="696318" y="2990577"/>
                </a:cubicBezTo>
                <a:cubicBezTo>
                  <a:pt x="843301" y="2946255"/>
                  <a:pt x="982118" y="2865775"/>
                  <a:pt x="1097605" y="2749138"/>
                </a:cubicBezTo>
                <a:cubicBezTo>
                  <a:pt x="1213091" y="2631334"/>
                  <a:pt x="1290082" y="2491370"/>
                  <a:pt x="1330911" y="2343241"/>
                </a:cubicBezTo>
                <a:cubicBezTo>
                  <a:pt x="1333244" y="2333910"/>
                  <a:pt x="1335577" y="2324579"/>
                  <a:pt x="1337910" y="2314081"/>
                </a:cubicBezTo>
                <a:cubicBezTo>
                  <a:pt x="1412568" y="2007326"/>
                  <a:pt x="1327411" y="1669078"/>
                  <a:pt x="1084773" y="1431138"/>
                </a:cubicBezTo>
                <a:cubicBezTo>
                  <a:pt x="842134" y="1193198"/>
                  <a:pt x="756978" y="856117"/>
                  <a:pt x="831636" y="548195"/>
                </a:cubicBezTo>
                <a:cubicBezTo>
                  <a:pt x="833969" y="537697"/>
                  <a:pt x="836302" y="528366"/>
                  <a:pt x="838635" y="519035"/>
                </a:cubicBezTo>
                <a:cubicBezTo>
                  <a:pt x="879463" y="370906"/>
                  <a:pt x="957621" y="230942"/>
                  <a:pt x="1071941" y="113138"/>
                </a:cubicBezTo>
                <a:cubicBezTo>
                  <a:pt x="1113936" y="71149"/>
                  <a:pt x="1159431" y="32658"/>
                  <a:pt x="1206092" y="0"/>
                </a:cubicBezTo>
                <a:close/>
              </a:path>
            </a:pathLst>
          </a:custGeom>
        </p:spPr>
        <p:txBody>
          <a:bodyPr wrap="square" tIns="158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85685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236CBE7-63A4-7E81-513A-64746A20A0C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178937" y="-1"/>
            <a:ext cx="6013063" cy="6858000"/>
          </a:xfrm>
          <a:custGeom>
            <a:avLst/>
            <a:gdLst>
              <a:gd name="connsiteX0" fmla="*/ 1551800 w 3242487"/>
              <a:gd name="connsiteY0" fmla="*/ 0 h 3698111"/>
              <a:gd name="connsiteX1" fmla="*/ 2712596 w 3242487"/>
              <a:gd name="connsiteY1" fmla="*/ 0 h 3698111"/>
              <a:gd name="connsiteX2" fmla="*/ 3242487 w 3242487"/>
              <a:gd name="connsiteY2" fmla="*/ 395493 h 3698111"/>
              <a:gd name="connsiteX3" fmla="*/ 3242487 w 3242487"/>
              <a:gd name="connsiteY3" fmla="*/ 2062211 h 3698111"/>
              <a:gd name="connsiteX4" fmla="*/ 2603022 w 3242487"/>
              <a:gd name="connsiteY4" fmla="*/ 2336145 h 3698111"/>
              <a:gd name="connsiteX5" fmla="*/ 2589325 w 3242487"/>
              <a:gd name="connsiteY5" fmla="*/ 2354122 h 3698111"/>
              <a:gd name="connsiteX6" fmla="*/ 2459207 w 3242487"/>
              <a:gd name="connsiteY6" fmla="*/ 2687979 h 3698111"/>
              <a:gd name="connsiteX7" fmla="*/ 2508001 w 3242487"/>
              <a:gd name="connsiteY7" fmla="*/ 3043237 h 3698111"/>
              <a:gd name="connsiteX8" fmla="*/ 2508001 w 3242487"/>
              <a:gd name="connsiteY8" fmla="*/ 3044093 h 3698111"/>
              <a:gd name="connsiteX9" fmla="*/ 2526834 w 3242487"/>
              <a:gd name="connsiteY9" fmla="*/ 3088608 h 3698111"/>
              <a:gd name="connsiteX10" fmla="*/ 2526834 w 3242487"/>
              <a:gd name="connsiteY10" fmla="*/ 3090320 h 3698111"/>
              <a:gd name="connsiteX11" fmla="*/ 2528546 w 3242487"/>
              <a:gd name="connsiteY11" fmla="*/ 3092888 h 3698111"/>
              <a:gd name="connsiteX12" fmla="*/ 2529402 w 3242487"/>
              <a:gd name="connsiteY12" fmla="*/ 3095456 h 3698111"/>
              <a:gd name="connsiteX13" fmla="*/ 2530258 w 3242487"/>
              <a:gd name="connsiteY13" fmla="*/ 3098024 h 3698111"/>
              <a:gd name="connsiteX14" fmla="*/ 2531114 w 3242487"/>
              <a:gd name="connsiteY14" fmla="*/ 3102304 h 3698111"/>
              <a:gd name="connsiteX15" fmla="*/ 2565356 w 3242487"/>
              <a:gd name="connsiteY15" fmla="*/ 3419041 h 3698111"/>
              <a:gd name="connsiteX16" fmla="*/ 2472903 w 3242487"/>
              <a:gd name="connsiteY16" fmla="*/ 3694687 h 3698111"/>
              <a:gd name="connsiteX17" fmla="*/ 2472903 w 3242487"/>
              <a:gd name="connsiteY17" fmla="*/ 3695543 h 3698111"/>
              <a:gd name="connsiteX18" fmla="*/ 2471191 w 3242487"/>
              <a:gd name="connsiteY18" fmla="*/ 3698111 h 3698111"/>
              <a:gd name="connsiteX19" fmla="*/ 1150315 w 3242487"/>
              <a:gd name="connsiteY19" fmla="*/ 3698111 h 3698111"/>
              <a:gd name="connsiteX20" fmla="*/ 297695 w 3242487"/>
              <a:gd name="connsiteY20" fmla="*/ 3061214 h 3698111"/>
              <a:gd name="connsiteX21" fmla="*/ 120494 w 3242487"/>
              <a:gd name="connsiteY21" fmla="*/ 2878877 h 3698111"/>
              <a:gd name="connsiteX22" fmla="*/ 120494 w 3242487"/>
              <a:gd name="connsiteY22" fmla="*/ 2878021 h 3698111"/>
              <a:gd name="connsiteX23" fmla="*/ 117926 w 3242487"/>
              <a:gd name="connsiteY23" fmla="*/ 2874597 h 3698111"/>
              <a:gd name="connsiteX24" fmla="*/ 117070 w 3242487"/>
              <a:gd name="connsiteY24" fmla="*/ 2872885 h 3698111"/>
              <a:gd name="connsiteX25" fmla="*/ 115357 w 3242487"/>
              <a:gd name="connsiteY25" fmla="*/ 2870316 h 3698111"/>
              <a:gd name="connsiteX26" fmla="*/ 113645 w 3242487"/>
              <a:gd name="connsiteY26" fmla="*/ 2867748 h 3698111"/>
              <a:gd name="connsiteX27" fmla="*/ 111933 w 3242487"/>
              <a:gd name="connsiteY27" fmla="*/ 2865180 h 3698111"/>
              <a:gd name="connsiteX28" fmla="*/ 110221 w 3242487"/>
              <a:gd name="connsiteY28" fmla="*/ 2862612 h 3698111"/>
              <a:gd name="connsiteX29" fmla="*/ 109365 w 3242487"/>
              <a:gd name="connsiteY29" fmla="*/ 2860900 h 3698111"/>
              <a:gd name="connsiteX30" fmla="*/ 107653 w 3242487"/>
              <a:gd name="connsiteY30" fmla="*/ 2858332 h 3698111"/>
              <a:gd name="connsiteX31" fmla="*/ 105941 w 3242487"/>
              <a:gd name="connsiteY31" fmla="*/ 2856620 h 3698111"/>
              <a:gd name="connsiteX32" fmla="*/ 104229 w 3242487"/>
              <a:gd name="connsiteY32" fmla="*/ 2853195 h 3698111"/>
              <a:gd name="connsiteX33" fmla="*/ 103373 w 3242487"/>
              <a:gd name="connsiteY33" fmla="*/ 2851483 h 3698111"/>
              <a:gd name="connsiteX34" fmla="*/ 101661 w 3242487"/>
              <a:gd name="connsiteY34" fmla="*/ 2848059 h 3698111"/>
              <a:gd name="connsiteX35" fmla="*/ 100805 w 3242487"/>
              <a:gd name="connsiteY35" fmla="*/ 2846347 h 3698111"/>
              <a:gd name="connsiteX36" fmla="*/ 98237 w 3242487"/>
              <a:gd name="connsiteY36" fmla="*/ 2842923 h 3698111"/>
              <a:gd name="connsiteX37" fmla="*/ 97381 w 3242487"/>
              <a:gd name="connsiteY37" fmla="*/ 2841211 h 3698111"/>
              <a:gd name="connsiteX38" fmla="*/ 95668 w 3242487"/>
              <a:gd name="connsiteY38" fmla="*/ 2837787 h 3698111"/>
              <a:gd name="connsiteX39" fmla="*/ 94812 w 3242487"/>
              <a:gd name="connsiteY39" fmla="*/ 2836931 h 3698111"/>
              <a:gd name="connsiteX40" fmla="*/ 92244 w 3242487"/>
              <a:gd name="connsiteY40" fmla="*/ 2832650 h 3698111"/>
              <a:gd name="connsiteX41" fmla="*/ 89676 w 3242487"/>
              <a:gd name="connsiteY41" fmla="*/ 2827514 h 3698111"/>
              <a:gd name="connsiteX42" fmla="*/ 86252 w 3242487"/>
              <a:gd name="connsiteY42" fmla="*/ 2822378 h 3698111"/>
              <a:gd name="connsiteX43" fmla="*/ 62283 w 3242487"/>
              <a:gd name="connsiteY43" fmla="*/ 2773583 h 3698111"/>
              <a:gd name="connsiteX44" fmla="*/ 36601 w 3242487"/>
              <a:gd name="connsiteY44" fmla="*/ 2706812 h 3698111"/>
              <a:gd name="connsiteX45" fmla="*/ 35745 w 3242487"/>
              <a:gd name="connsiteY45" fmla="*/ 2705956 h 3698111"/>
              <a:gd name="connsiteX46" fmla="*/ 34889 w 3242487"/>
              <a:gd name="connsiteY46" fmla="*/ 2702532 h 3698111"/>
              <a:gd name="connsiteX47" fmla="*/ 34033 w 3242487"/>
              <a:gd name="connsiteY47" fmla="*/ 2699964 h 3698111"/>
              <a:gd name="connsiteX48" fmla="*/ 33177 w 3242487"/>
              <a:gd name="connsiteY48" fmla="*/ 2697395 h 3698111"/>
              <a:gd name="connsiteX49" fmla="*/ 32321 w 3242487"/>
              <a:gd name="connsiteY49" fmla="*/ 2693115 h 3698111"/>
              <a:gd name="connsiteX50" fmla="*/ 31465 w 3242487"/>
              <a:gd name="connsiteY50" fmla="*/ 2692259 h 3698111"/>
              <a:gd name="connsiteX51" fmla="*/ 4928 w 3242487"/>
              <a:gd name="connsiteY51" fmla="*/ 2397780 h 3698111"/>
              <a:gd name="connsiteX52" fmla="*/ 172712 w 3242487"/>
              <a:gd name="connsiteY52" fmla="*/ 981027 h 3698111"/>
              <a:gd name="connsiteX53" fmla="*/ 278862 w 3242487"/>
              <a:gd name="connsiteY53" fmla="*/ 681411 h 3698111"/>
              <a:gd name="connsiteX54" fmla="*/ 279718 w 3242487"/>
              <a:gd name="connsiteY54" fmla="*/ 680555 h 3698111"/>
              <a:gd name="connsiteX55" fmla="*/ 281430 w 3242487"/>
              <a:gd name="connsiteY55" fmla="*/ 677131 h 3698111"/>
              <a:gd name="connsiteX56" fmla="*/ 283142 w 3242487"/>
              <a:gd name="connsiteY56" fmla="*/ 675419 h 3698111"/>
              <a:gd name="connsiteX57" fmla="*/ 284854 w 3242487"/>
              <a:gd name="connsiteY57" fmla="*/ 673707 h 3698111"/>
              <a:gd name="connsiteX58" fmla="*/ 286566 w 3242487"/>
              <a:gd name="connsiteY58" fmla="*/ 670283 h 3698111"/>
              <a:gd name="connsiteX59" fmla="*/ 315672 w 3242487"/>
              <a:gd name="connsiteY59" fmla="*/ 630049 h 3698111"/>
              <a:gd name="connsiteX60" fmla="*/ 315672 w 3242487"/>
              <a:gd name="connsiteY60" fmla="*/ 629193 h 3698111"/>
              <a:gd name="connsiteX61" fmla="*/ 611007 w 3242487"/>
              <a:gd name="connsiteY61" fmla="*/ 404053 h 3698111"/>
              <a:gd name="connsiteX62" fmla="*/ 1551800 w 3242487"/>
              <a:gd name="connsiteY62" fmla="*/ 0 h 3698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3242487" h="3698111">
                <a:moveTo>
                  <a:pt x="1551800" y="0"/>
                </a:moveTo>
                <a:cubicBezTo>
                  <a:pt x="1551800" y="0"/>
                  <a:pt x="1551800" y="0"/>
                  <a:pt x="2712596" y="0"/>
                </a:cubicBezTo>
                <a:cubicBezTo>
                  <a:pt x="2968553" y="190898"/>
                  <a:pt x="3096960" y="286775"/>
                  <a:pt x="3242487" y="395493"/>
                </a:cubicBezTo>
                <a:lnTo>
                  <a:pt x="3242487" y="2062211"/>
                </a:lnTo>
                <a:cubicBezTo>
                  <a:pt x="2987386" y="2035673"/>
                  <a:pt x="2749406" y="2146103"/>
                  <a:pt x="2603022" y="2336145"/>
                </a:cubicBezTo>
                <a:cubicBezTo>
                  <a:pt x="2597886" y="2342137"/>
                  <a:pt x="2593606" y="2348129"/>
                  <a:pt x="2589325" y="2354122"/>
                </a:cubicBezTo>
                <a:cubicBezTo>
                  <a:pt x="2519986" y="2449143"/>
                  <a:pt x="2473759" y="2562996"/>
                  <a:pt x="2459207" y="2687979"/>
                </a:cubicBezTo>
                <a:cubicBezTo>
                  <a:pt x="2444654" y="2812961"/>
                  <a:pt x="2463487" y="2934520"/>
                  <a:pt x="2508001" y="3043237"/>
                </a:cubicBezTo>
                <a:cubicBezTo>
                  <a:pt x="2508001" y="3043237"/>
                  <a:pt x="2508001" y="3043237"/>
                  <a:pt x="2508001" y="3044093"/>
                </a:cubicBezTo>
                <a:cubicBezTo>
                  <a:pt x="2514850" y="3058646"/>
                  <a:pt x="2520842" y="3073199"/>
                  <a:pt x="2526834" y="3088608"/>
                </a:cubicBezTo>
                <a:cubicBezTo>
                  <a:pt x="2526834" y="3089464"/>
                  <a:pt x="2526834" y="3089464"/>
                  <a:pt x="2526834" y="3090320"/>
                </a:cubicBezTo>
                <a:cubicBezTo>
                  <a:pt x="2527690" y="3091176"/>
                  <a:pt x="2527690" y="3092032"/>
                  <a:pt x="2528546" y="3092888"/>
                </a:cubicBezTo>
                <a:cubicBezTo>
                  <a:pt x="2528546" y="3093744"/>
                  <a:pt x="2528546" y="3094600"/>
                  <a:pt x="2529402" y="3095456"/>
                </a:cubicBezTo>
                <a:cubicBezTo>
                  <a:pt x="2529402" y="3096312"/>
                  <a:pt x="2529402" y="3097168"/>
                  <a:pt x="2530258" y="3098024"/>
                </a:cubicBezTo>
                <a:cubicBezTo>
                  <a:pt x="2530258" y="3098880"/>
                  <a:pt x="2531114" y="3100592"/>
                  <a:pt x="2531114" y="3102304"/>
                </a:cubicBezTo>
                <a:cubicBezTo>
                  <a:pt x="2565356" y="3200749"/>
                  <a:pt x="2578197" y="3308611"/>
                  <a:pt x="2565356" y="3419041"/>
                </a:cubicBezTo>
                <a:cubicBezTo>
                  <a:pt x="2553371" y="3519198"/>
                  <a:pt x="2521698" y="3612507"/>
                  <a:pt x="2472903" y="3694687"/>
                </a:cubicBezTo>
                <a:cubicBezTo>
                  <a:pt x="2472903" y="3694687"/>
                  <a:pt x="2472903" y="3694687"/>
                  <a:pt x="2472903" y="3695543"/>
                </a:cubicBezTo>
                <a:cubicBezTo>
                  <a:pt x="2472047" y="3696399"/>
                  <a:pt x="2472047" y="3697255"/>
                  <a:pt x="2471191" y="3698111"/>
                </a:cubicBezTo>
                <a:cubicBezTo>
                  <a:pt x="2471191" y="3698111"/>
                  <a:pt x="2471191" y="3698111"/>
                  <a:pt x="1150315" y="3698111"/>
                </a:cubicBezTo>
                <a:cubicBezTo>
                  <a:pt x="838715" y="3465267"/>
                  <a:pt x="747974" y="3397640"/>
                  <a:pt x="297695" y="3061214"/>
                </a:cubicBezTo>
                <a:cubicBezTo>
                  <a:pt x="227499" y="3011564"/>
                  <a:pt x="168432" y="2949072"/>
                  <a:pt x="120494" y="2878877"/>
                </a:cubicBezTo>
                <a:cubicBezTo>
                  <a:pt x="120494" y="2878021"/>
                  <a:pt x="120494" y="2878021"/>
                  <a:pt x="120494" y="2878021"/>
                </a:cubicBezTo>
                <a:cubicBezTo>
                  <a:pt x="119638" y="2876309"/>
                  <a:pt x="118782" y="2875453"/>
                  <a:pt x="117926" y="2874597"/>
                </a:cubicBezTo>
                <a:cubicBezTo>
                  <a:pt x="117926" y="2873741"/>
                  <a:pt x="117070" y="2873741"/>
                  <a:pt x="117070" y="2872885"/>
                </a:cubicBezTo>
                <a:cubicBezTo>
                  <a:pt x="116214" y="2872028"/>
                  <a:pt x="115357" y="2871172"/>
                  <a:pt x="115357" y="2870316"/>
                </a:cubicBezTo>
                <a:cubicBezTo>
                  <a:pt x="114501" y="2869460"/>
                  <a:pt x="114501" y="2868604"/>
                  <a:pt x="113645" y="2867748"/>
                </a:cubicBezTo>
                <a:cubicBezTo>
                  <a:pt x="113645" y="2866892"/>
                  <a:pt x="112789" y="2866036"/>
                  <a:pt x="111933" y="2865180"/>
                </a:cubicBezTo>
                <a:cubicBezTo>
                  <a:pt x="111933" y="2864324"/>
                  <a:pt x="111077" y="2863468"/>
                  <a:pt x="110221" y="2862612"/>
                </a:cubicBezTo>
                <a:cubicBezTo>
                  <a:pt x="110221" y="2862612"/>
                  <a:pt x="109365" y="2861756"/>
                  <a:pt x="109365" y="2860900"/>
                </a:cubicBezTo>
                <a:cubicBezTo>
                  <a:pt x="108509" y="2860044"/>
                  <a:pt x="108509" y="2859188"/>
                  <a:pt x="107653" y="2858332"/>
                </a:cubicBezTo>
                <a:cubicBezTo>
                  <a:pt x="106797" y="2857476"/>
                  <a:pt x="106797" y="2856620"/>
                  <a:pt x="105941" y="2856620"/>
                </a:cubicBezTo>
                <a:cubicBezTo>
                  <a:pt x="105941" y="2854908"/>
                  <a:pt x="105085" y="2854052"/>
                  <a:pt x="104229" y="2853195"/>
                </a:cubicBezTo>
                <a:cubicBezTo>
                  <a:pt x="104229" y="2852339"/>
                  <a:pt x="103373" y="2852339"/>
                  <a:pt x="103373" y="2851483"/>
                </a:cubicBezTo>
                <a:cubicBezTo>
                  <a:pt x="102517" y="2850627"/>
                  <a:pt x="101661" y="2848915"/>
                  <a:pt x="101661" y="2848059"/>
                </a:cubicBezTo>
                <a:cubicBezTo>
                  <a:pt x="100805" y="2847203"/>
                  <a:pt x="100805" y="2847203"/>
                  <a:pt x="100805" y="2846347"/>
                </a:cubicBezTo>
                <a:cubicBezTo>
                  <a:pt x="99949" y="2845491"/>
                  <a:pt x="99093" y="2843779"/>
                  <a:pt x="98237" y="2842923"/>
                </a:cubicBezTo>
                <a:cubicBezTo>
                  <a:pt x="98237" y="2842923"/>
                  <a:pt x="98237" y="2842067"/>
                  <a:pt x="97381" y="2841211"/>
                </a:cubicBezTo>
                <a:cubicBezTo>
                  <a:pt x="96524" y="2840355"/>
                  <a:pt x="96524" y="2839499"/>
                  <a:pt x="95668" y="2837787"/>
                </a:cubicBezTo>
                <a:cubicBezTo>
                  <a:pt x="94812" y="2837787"/>
                  <a:pt x="94812" y="2836931"/>
                  <a:pt x="94812" y="2836931"/>
                </a:cubicBezTo>
                <a:cubicBezTo>
                  <a:pt x="93956" y="2835219"/>
                  <a:pt x="93100" y="2834363"/>
                  <a:pt x="92244" y="2832650"/>
                </a:cubicBezTo>
                <a:cubicBezTo>
                  <a:pt x="91388" y="2830082"/>
                  <a:pt x="90532" y="2829226"/>
                  <a:pt x="89676" y="2827514"/>
                </a:cubicBezTo>
                <a:cubicBezTo>
                  <a:pt x="87964" y="2824946"/>
                  <a:pt x="87108" y="2824090"/>
                  <a:pt x="86252" y="2822378"/>
                </a:cubicBezTo>
                <a:cubicBezTo>
                  <a:pt x="77692" y="2806113"/>
                  <a:pt x="69987" y="2790704"/>
                  <a:pt x="62283" y="2773583"/>
                </a:cubicBezTo>
                <a:cubicBezTo>
                  <a:pt x="52866" y="2752182"/>
                  <a:pt x="44306" y="2729925"/>
                  <a:pt x="36601" y="2706812"/>
                </a:cubicBezTo>
                <a:cubicBezTo>
                  <a:pt x="36601" y="2706812"/>
                  <a:pt x="36601" y="2705956"/>
                  <a:pt x="35745" y="2705956"/>
                </a:cubicBezTo>
                <a:cubicBezTo>
                  <a:pt x="35745" y="2704244"/>
                  <a:pt x="35745" y="2703388"/>
                  <a:pt x="34889" y="2702532"/>
                </a:cubicBezTo>
                <a:cubicBezTo>
                  <a:pt x="34889" y="2701676"/>
                  <a:pt x="34033" y="2700820"/>
                  <a:pt x="34033" y="2699964"/>
                </a:cubicBezTo>
                <a:cubicBezTo>
                  <a:pt x="34033" y="2699108"/>
                  <a:pt x="33177" y="2698251"/>
                  <a:pt x="33177" y="2697395"/>
                </a:cubicBezTo>
                <a:cubicBezTo>
                  <a:pt x="33177" y="2695683"/>
                  <a:pt x="32321" y="2693971"/>
                  <a:pt x="32321" y="2693115"/>
                </a:cubicBezTo>
                <a:cubicBezTo>
                  <a:pt x="32321" y="2692259"/>
                  <a:pt x="31465" y="2692259"/>
                  <a:pt x="31465" y="2692259"/>
                </a:cubicBezTo>
                <a:cubicBezTo>
                  <a:pt x="3216" y="2599806"/>
                  <a:pt x="-7057" y="2500505"/>
                  <a:pt x="4928" y="2397780"/>
                </a:cubicBezTo>
                <a:cubicBezTo>
                  <a:pt x="4928" y="2397780"/>
                  <a:pt x="4928" y="2397780"/>
                  <a:pt x="172712" y="981027"/>
                </a:cubicBezTo>
                <a:cubicBezTo>
                  <a:pt x="185553" y="870597"/>
                  <a:pt x="223219" y="769584"/>
                  <a:pt x="278862" y="681411"/>
                </a:cubicBezTo>
                <a:cubicBezTo>
                  <a:pt x="278862" y="681411"/>
                  <a:pt x="279718" y="681411"/>
                  <a:pt x="279718" y="680555"/>
                </a:cubicBezTo>
                <a:cubicBezTo>
                  <a:pt x="280574" y="679699"/>
                  <a:pt x="281430" y="678843"/>
                  <a:pt x="281430" y="677131"/>
                </a:cubicBezTo>
                <a:cubicBezTo>
                  <a:pt x="282286" y="676275"/>
                  <a:pt x="282286" y="676275"/>
                  <a:pt x="283142" y="675419"/>
                </a:cubicBezTo>
                <a:cubicBezTo>
                  <a:pt x="283142" y="674563"/>
                  <a:pt x="283998" y="673707"/>
                  <a:pt x="284854" y="673707"/>
                </a:cubicBezTo>
                <a:cubicBezTo>
                  <a:pt x="284854" y="671995"/>
                  <a:pt x="285710" y="671139"/>
                  <a:pt x="286566" y="670283"/>
                </a:cubicBezTo>
                <a:cubicBezTo>
                  <a:pt x="295983" y="655730"/>
                  <a:pt x="305399" y="642889"/>
                  <a:pt x="315672" y="630049"/>
                </a:cubicBezTo>
                <a:cubicBezTo>
                  <a:pt x="315672" y="629193"/>
                  <a:pt x="315672" y="629193"/>
                  <a:pt x="315672" y="629193"/>
                </a:cubicBezTo>
                <a:cubicBezTo>
                  <a:pt x="392716" y="529892"/>
                  <a:pt x="494585" y="451991"/>
                  <a:pt x="611007" y="404053"/>
                </a:cubicBezTo>
                <a:cubicBezTo>
                  <a:pt x="1108369" y="190898"/>
                  <a:pt x="1223935" y="141247"/>
                  <a:pt x="1551800" y="0"/>
                </a:cubicBezTo>
                <a:close/>
              </a:path>
            </a:pathLst>
          </a:custGeom>
        </p:spPr>
        <p:txBody>
          <a:bodyPr wrap="square" tIns="1296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379814755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65BE384-1ABB-6156-E7AC-98E94BD06433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886921" y="0"/>
            <a:ext cx="6305079" cy="6858000"/>
          </a:xfrm>
          <a:custGeom>
            <a:avLst/>
            <a:gdLst>
              <a:gd name="connsiteX0" fmla="*/ 2584350 w 4378527"/>
              <a:gd name="connsiteY0" fmla="*/ 0 h 4762500"/>
              <a:gd name="connsiteX1" fmla="*/ 4378527 w 4378527"/>
              <a:gd name="connsiteY1" fmla="*/ 0 h 4762500"/>
              <a:gd name="connsiteX2" fmla="*/ 4378527 w 4378527"/>
              <a:gd name="connsiteY2" fmla="*/ 3060347 h 4762500"/>
              <a:gd name="connsiteX3" fmla="*/ 3913166 w 4378527"/>
              <a:gd name="connsiteY3" fmla="*/ 2973255 h 4762500"/>
              <a:gd name="connsiteX4" fmla="*/ 3183144 w 4378527"/>
              <a:gd name="connsiteY4" fmla="*/ 3464939 h 4762500"/>
              <a:gd name="connsiteX5" fmla="*/ 3171014 w 4378527"/>
              <a:gd name="connsiteY5" fmla="*/ 3490295 h 4762500"/>
              <a:gd name="connsiteX6" fmla="*/ 3092718 w 4378527"/>
              <a:gd name="connsiteY6" fmla="*/ 3929063 h 4762500"/>
              <a:gd name="connsiteX7" fmla="*/ 3239384 w 4378527"/>
              <a:gd name="connsiteY7" fmla="*/ 4351294 h 4762500"/>
              <a:gd name="connsiteX8" fmla="*/ 3400386 w 4378527"/>
              <a:gd name="connsiteY8" fmla="*/ 4762500 h 4762500"/>
              <a:gd name="connsiteX9" fmla="*/ 293935 w 4378527"/>
              <a:gd name="connsiteY9" fmla="*/ 4762500 h 4762500"/>
              <a:gd name="connsiteX10" fmla="*/ 168221 w 4378527"/>
              <a:gd name="connsiteY10" fmla="*/ 4622492 h 4762500"/>
              <a:gd name="connsiteX11" fmla="*/ 148372 w 4378527"/>
              <a:gd name="connsiteY11" fmla="*/ 4593828 h 4762500"/>
              <a:gd name="connsiteX12" fmla="*/ 147269 w 4378527"/>
              <a:gd name="connsiteY12" fmla="*/ 4592726 h 4762500"/>
              <a:gd name="connsiteX13" fmla="*/ 2809 w 4378527"/>
              <a:gd name="connsiteY13" fmla="*/ 4174905 h 4762500"/>
              <a:gd name="connsiteX14" fmla="*/ 77796 w 4378527"/>
              <a:gd name="connsiteY14" fmla="*/ 3739445 h 4762500"/>
              <a:gd name="connsiteX15" fmla="*/ 78898 w 4378527"/>
              <a:gd name="connsiteY15" fmla="*/ 3738342 h 4762500"/>
              <a:gd name="connsiteX16" fmla="*/ 94337 w 4378527"/>
              <a:gd name="connsiteY16" fmla="*/ 3707474 h 4762500"/>
              <a:gd name="connsiteX17" fmla="*/ 95440 w 4378527"/>
              <a:gd name="connsiteY17" fmla="*/ 3705269 h 4762500"/>
              <a:gd name="connsiteX18" fmla="*/ 823256 w 4378527"/>
              <a:gd name="connsiteY18" fmla="*/ 3219097 h 4762500"/>
              <a:gd name="connsiteX19" fmla="*/ 1554380 w 4378527"/>
              <a:gd name="connsiteY19" fmla="*/ 2727413 h 4762500"/>
              <a:gd name="connsiteX20" fmla="*/ 1566510 w 4378527"/>
              <a:gd name="connsiteY20" fmla="*/ 2702057 h 4762500"/>
              <a:gd name="connsiteX21" fmla="*/ 1643703 w 4378527"/>
              <a:gd name="connsiteY21" fmla="*/ 2262188 h 4762500"/>
              <a:gd name="connsiteX22" fmla="*/ 1497037 w 4378527"/>
              <a:gd name="connsiteY22" fmla="*/ 1839957 h 4762500"/>
              <a:gd name="connsiteX23" fmla="*/ 1480496 w 4378527"/>
              <a:gd name="connsiteY23" fmla="*/ 1816806 h 4762500"/>
              <a:gd name="connsiteX24" fmla="*/ 1333830 w 4378527"/>
              <a:gd name="connsiteY24" fmla="*/ 1395677 h 4762500"/>
              <a:gd name="connsiteX25" fmla="*/ 1411022 w 4378527"/>
              <a:gd name="connsiteY25" fmla="*/ 956910 h 4762500"/>
              <a:gd name="connsiteX26" fmla="*/ 1423153 w 4378527"/>
              <a:gd name="connsiteY26" fmla="*/ 931554 h 4762500"/>
              <a:gd name="connsiteX27" fmla="*/ 1423153 w 4378527"/>
              <a:gd name="connsiteY27" fmla="*/ 930451 h 4762500"/>
              <a:gd name="connsiteX28" fmla="*/ 1731923 w 4378527"/>
              <a:gd name="connsiteY28" fmla="*/ 583186 h 4762500"/>
              <a:gd name="connsiteX29" fmla="*/ 2584350 w 4378527"/>
              <a:gd name="connsiteY29" fmla="*/ 0 h 476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378527" h="4762500">
                <a:moveTo>
                  <a:pt x="2584350" y="0"/>
                </a:moveTo>
                <a:cubicBezTo>
                  <a:pt x="2584350" y="0"/>
                  <a:pt x="2584350" y="0"/>
                  <a:pt x="4378527" y="0"/>
                </a:cubicBezTo>
                <a:lnTo>
                  <a:pt x="4378527" y="3060347"/>
                </a:lnTo>
                <a:cubicBezTo>
                  <a:pt x="4239580" y="2993099"/>
                  <a:pt x="4079681" y="2960026"/>
                  <a:pt x="3913166" y="2973255"/>
                </a:cubicBezTo>
                <a:cubicBezTo>
                  <a:pt x="3588957" y="2998611"/>
                  <a:pt x="3317680" y="3193741"/>
                  <a:pt x="3183144" y="3464939"/>
                </a:cubicBezTo>
                <a:cubicBezTo>
                  <a:pt x="3178733" y="3472656"/>
                  <a:pt x="3174322" y="3481476"/>
                  <a:pt x="3171014" y="3490295"/>
                </a:cubicBezTo>
                <a:cubicBezTo>
                  <a:pt x="3109260" y="3622587"/>
                  <a:pt x="3080588" y="3773620"/>
                  <a:pt x="3092718" y="3929063"/>
                </a:cubicBezTo>
                <a:cubicBezTo>
                  <a:pt x="3105952" y="4085608"/>
                  <a:pt x="3157781" y="4228924"/>
                  <a:pt x="3239384" y="4351294"/>
                </a:cubicBezTo>
                <a:cubicBezTo>
                  <a:pt x="3325399" y="4469254"/>
                  <a:pt x="3381640" y="4609262"/>
                  <a:pt x="3400386" y="4762500"/>
                </a:cubicBezTo>
                <a:cubicBezTo>
                  <a:pt x="3400386" y="4762500"/>
                  <a:pt x="3400386" y="4762500"/>
                  <a:pt x="293935" y="4762500"/>
                </a:cubicBezTo>
                <a:cubicBezTo>
                  <a:pt x="247619" y="4720608"/>
                  <a:pt x="204612" y="4674306"/>
                  <a:pt x="168221" y="4622492"/>
                </a:cubicBezTo>
                <a:cubicBezTo>
                  <a:pt x="161605" y="4613672"/>
                  <a:pt x="153885" y="4603750"/>
                  <a:pt x="148372" y="4593828"/>
                </a:cubicBezTo>
                <a:cubicBezTo>
                  <a:pt x="147269" y="4593828"/>
                  <a:pt x="147269" y="4592726"/>
                  <a:pt x="147269" y="4592726"/>
                </a:cubicBezTo>
                <a:cubicBezTo>
                  <a:pt x="66768" y="4471459"/>
                  <a:pt x="14939" y="4329245"/>
                  <a:pt x="2809" y="4174905"/>
                </a:cubicBezTo>
                <a:cubicBezTo>
                  <a:pt x="-9322" y="4020564"/>
                  <a:pt x="18247" y="3872839"/>
                  <a:pt x="77796" y="3739445"/>
                </a:cubicBezTo>
                <a:cubicBezTo>
                  <a:pt x="78898" y="3739445"/>
                  <a:pt x="78898" y="3739445"/>
                  <a:pt x="78898" y="3738342"/>
                </a:cubicBezTo>
                <a:cubicBezTo>
                  <a:pt x="84412" y="3728420"/>
                  <a:pt x="88823" y="3717396"/>
                  <a:pt x="94337" y="3707474"/>
                </a:cubicBezTo>
                <a:cubicBezTo>
                  <a:pt x="94337" y="3706372"/>
                  <a:pt x="94337" y="3706372"/>
                  <a:pt x="95440" y="3705269"/>
                </a:cubicBezTo>
                <a:cubicBezTo>
                  <a:pt x="231078" y="3437379"/>
                  <a:pt x="500150" y="3244453"/>
                  <a:pt x="823256" y="3219097"/>
                </a:cubicBezTo>
                <a:cubicBezTo>
                  <a:pt x="1148567" y="3192639"/>
                  <a:pt x="1418742" y="2997509"/>
                  <a:pt x="1554380" y="2727413"/>
                </a:cubicBezTo>
                <a:cubicBezTo>
                  <a:pt x="1558791" y="2718594"/>
                  <a:pt x="1562099" y="2710877"/>
                  <a:pt x="1566510" y="2702057"/>
                </a:cubicBezTo>
                <a:cubicBezTo>
                  <a:pt x="1627162" y="2568663"/>
                  <a:pt x="1656936" y="2418733"/>
                  <a:pt x="1643703" y="2262188"/>
                </a:cubicBezTo>
                <a:cubicBezTo>
                  <a:pt x="1631573" y="2105642"/>
                  <a:pt x="1578641" y="1962327"/>
                  <a:pt x="1497037" y="1839957"/>
                </a:cubicBezTo>
                <a:cubicBezTo>
                  <a:pt x="1491523" y="1832240"/>
                  <a:pt x="1486009" y="1824523"/>
                  <a:pt x="1480496" y="1816806"/>
                </a:cubicBezTo>
                <a:cubicBezTo>
                  <a:pt x="1398892" y="1695538"/>
                  <a:pt x="1345960" y="1552222"/>
                  <a:pt x="1333830" y="1395677"/>
                </a:cubicBezTo>
                <a:cubicBezTo>
                  <a:pt x="1320597" y="1240235"/>
                  <a:pt x="1349268" y="1090304"/>
                  <a:pt x="1411022" y="956910"/>
                </a:cubicBezTo>
                <a:cubicBezTo>
                  <a:pt x="1414331" y="949193"/>
                  <a:pt x="1418742" y="940373"/>
                  <a:pt x="1423153" y="931554"/>
                </a:cubicBezTo>
                <a:cubicBezTo>
                  <a:pt x="1423153" y="931554"/>
                  <a:pt x="1423153" y="931554"/>
                  <a:pt x="1423153" y="930451"/>
                </a:cubicBezTo>
                <a:cubicBezTo>
                  <a:pt x="1493729" y="790443"/>
                  <a:pt x="1600696" y="670278"/>
                  <a:pt x="1731923" y="583186"/>
                </a:cubicBezTo>
                <a:cubicBezTo>
                  <a:pt x="1731923" y="583186"/>
                  <a:pt x="1731923" y="583186"/>
                  <a:pt x="2584350" y="0"/>
                </a:cubicBezTo>
                <a:close/>
              </a:path>
            </a:pathLst>
          </a:custGeom>
        </p:spPr>
        <p:txBody>
          <a:bodyPr wrap="square" lIns="1512000" tIns="1548000" rIns="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90615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78A25DA-B163-D89A-66DE-A62B12EB1A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6035" y="0"/>
            <a:ext cx="5715965" cy="6858000"/>
          </a:xfrm>
          <a:custGeom>
            <a:avLst/>
            <a:gdLst>
              <a:gd name="connsiteX0" fmla="*/ 526794 w 3550098"/>
              <a:gd name="connsiteY0" fmla="*/ 0 h 4254499"/>
              <a:gd name="connsiteX1" fmla="*/ 1612386 w 3550098"/>
              <a:gd name="connsiteY1" fmla="*/ 0 h 4254499"/>
              <a:gd name="connsiteX2" fmla="*/ 1722718 w 3550098"/>
              <a:gd name="connsiteY2" fmla="*/ 111287 h 4254499"/>
              <a:gd name="connsiteX3" fmla="*/ 2400474 w 3550098"/>
              <a:gd name="connsiteY3" fmla="*/ 787870 h 4254499"/>
              <a:gd name="connsiteX4" fmla="*/ 2548241 w 3550098"/>
              <a:gd name="connsiteY4" fmla="*/ 935596 h 4254499"/>
              <a:gd name="connsiteX5" fmla="*/ 2549226 w 3550098"/>
              <a:gd name="connsiteY5" fmla="*/ 937566 h 4254499"/>
              <a:gd name="connsiteX6" fmla="*/ 2569913 w 3550098"/>
              <a:gd name="connsiteY6" fmla="*/ 958247 h 4254499"/>
              <a:gd name="connsiteX7" fmla="*/ 2571883 w 3550098"/>
              <a:gd name="connsiteY7" fmla="*/ 960217 h 4254499"/>
              <a:gd name="connsiteX8" fmla="*/ 2716694 w 3550098"/>
              <a:gd name="connsiteY8" fmla="*/ 1104988 h 4254499"/>
              <a:gd name="connsiteX9" fmla="*/ 3394450 w 3550098"/>
              <a:gd name="connsiteY9" fmla="*/ 1782556 h 4254499"/>
              <a:gd name="connsiteX10" fmla="*/ 3542217 w 3550098"/>
              <a:gd name="connsiteY10" fmla="*/ 1930282 h 4254499"/>
              <a:gd name="connsiteX11" fmla="*/ 3545172 w 3550098"/>
              <a:gd name="connsiteY11" fmla="*/ 1932252 h 4254499"/>
              <a:gd name="connsiteX12" fmla="*/ 3550098 w 3550098"/>
              <a:gd name="connsiteY12" fmla="*/ 1937176 h 4254499"/>
              <a:gd name="connsiteX13" fmla="*/ 3550098 w 3550098"/>
              <a:gd name="connsiteY13" fmla="*/ 4254499 h 4254499"/>
              <a:gd name="connsiteX14" fmla="*/ 637127 w 3550098"/>
              <a:gd name="connsiteY14" fmla="*/ 4254499 h 4254499"/>
              <a:gd name="connsiteX15" fmla="*/ 829223 w 3550098"/>
              <a:gd name="connsiteY15" fmla="*/ 3669506 h 4254499"/>
              <a:gd name="connsiteX16" fmla="*/ 844985 w 3550098"/>
              <a:gd name="connsiteY16" fmla="*/ 3653748 h 4254499"/>
              <a:gd name="connsiteX17" fmla="*/ 1018364 w 3550098"/>
              <a:gd name="connsiteY17" fmla="*/ 2983074 h 4254499"/>
              <a:gd name="connsiteX18" fmla="*/ 532705 w 3550098"/>
              <a:gd name="connsiteY18" fmla="*/ 2488685 h 4254499"/>
              <a:gd name="connsiteX19" fmla="*/ 511033 w 3550098"/>
              <a:gd name="connsiteY19" fmla="*/ 2483761 h 4254499"/>
              <a:gd name="connsiteX20" fmla="*/ 24388 w 3550098"/>
              <a:gd name="connsiteY20" fmla="*/ 1989372 h 4254499"/>
              <a:gd name="connsiteX21" fmla="*/ 24388 w 3550098"/>
              <a:gd name="connsiteY21" fmla="*/ 1624982 h 4254499"/>
              <a:gd name="connsiteX22" fmla="*/ 27343 w 3550098"/>
              <a:gd name="connsiteY22" fmla="*/ 1616119 h 4254499"/>
              <a:gd name="connsiteX23" fmla="*/ 28328 w 3550098"/>
              <a:gd name="connsiteY23" fmla="*/ 1611195 h 4254499"/>
              <a:gd name="connsiteX24" fmla="*/ 82510 w 3550098"/>
              <a:gd name="connsiteY24" fmla="*/ 1409303 h 4254499"/>
              <a:gd name="connsiteX25" fmla="*/ 330757 w 3550098"/>
              <a:gd name="connsiteY25" fmla="*/ 483555 h 4254499"/>
              <a:gd name="connsiteX26" fmla="*/ 383953 w 3550098"/>
              <a:gd name="connsiteY26" fmla="*/ 285603 h 4254499"/>
              <a:gd name="connsiteX27" fmla="*/ 387894 w 3550098"/>
              <a:gd name="connsiteY27" fmla="*/ 267876 h 4254499"/>
              <a:gd name="connsiteX28" fmla="*/ 526794 w 3550098"/>
              <a:gd name="connsiteY28" fmla="*/ 0 h 4254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550098" h="4254499">
                <a:moveTo>
                  <a:pt x="526794" y="0"/>
                </a:moveTo>
                <a:cubicBezTo>
                  <a:pt x="526794" y="0"/>
                  <a:pt x="526794" y="0"/>
                  <a:pt x="1612386" y="0"/>
                </a:cubicBezTo>
                <a:cubicBezTo>
                  <a:pt x="1648835" y="37424"/>
                  <a:pt x="1686269" y="73863"/>
                  <a:pt x="1722718" y="111287"/>
                </a:cubicBezTo>
                <a:cubicBezTo>
                  <a:pt x="1948308" y="336815"/>
                  <a:pt x="2174884" y="562343"/>
                  <a:pt x="2400474" y="787870"/>
                </a:cubicBezTo>
                <a:cubicBezTo>
                  <a:pt x="2449730" y="837112"/>
                  <a:pt x="2498985" y="886354"/>
                  <a:pt x="2548241" y="935596"/>
                </a:cubicBezTo>
                <a:cubicBezTo>
                  <a:pt x="2548241" y="936581"/>
                  <a:pt x="2549226" y="936581"/>
                  <a:pt x="2549226" y="937566"/>
                </a:cubicBezTo>
                <a:cubicBezTo>
                  <a:pt x="2556122" y="944460"/>
                  <a:pt x="2563017" y="951353"/>
                  <a:pt x="2569913" y="958247"/>
                </a:cubicBezTo>
                <a:cubicBezTo>
                  <a:pt x="2570898" y="958247"/>
                  <a:pt x="2571883" y="959232"/>
                  <a:pt x="2571883" y="960217"/>
                </a:cubicBezTo>
                <a:cubicBezTo>
                  <a:pt x="2620154" y="1008474"/>
                  <a:pt x="2668424" y="1056731"/>
                  <a:pt x="2716694" y="1104988"/>
                </a:cubicBezTo>
                <a:cubicBezTo>
                  <a:pt x="2943270" y="1330516"/>
                  <a:pt x="3168860" y="1556044"/>
                  <a:pt x="3394450" y="1782556"/>
                </a:cubicBezTo>
                <a:cubicBezTo>
                  <a:pt x="3443706" y="1830814"/>
                  <a:pt x="3492962" y="1880055"/>
                  <a:pt x="3542217" y="1930282"/>
                </a:cubicBezTo>
                <a:cubicBezTo>
                  <a:pt x="3543202" y="1930282"/>
                  <a:pt x="3544187" y="1931267"/>
                  <a:pt x="3545172" y="1932252"/>
                </a:cubicBezTo>
                <a:cubicBezTo>
                  <a:pt x="3547143" y="1934221"/>
                  <a:pt x="3548128" y="1936191"/>
                  <a:pt x="3550098" y="1937176"/>
                </a:cubicBezTo>
                <a:lnTo>
                  <a:pt x="3550098" y="4254499"/>
                </a:lnTo>
                <a:cubicBezTo>
                  <a:pt x="3550098" y="4254499"/>
                  <a:pt x="3550098" y="4254499"/>
                  <a:pt x="637127" y="4254499"/>
                </a:cubicBezTo>
                <a:cubicBezTo>
                  <a:pt x="606588" y="4035865"/>
                  <a:pt x="682442" y="3822155"/>
                  <a:pt x="829223" y="3669506"/>
                </a:cubicBezTo>
                <a:cubicBezTo>
                  <a:pt x="834149" y="3664581"/>
                  <a:pt x="839074" y="3659657"/>
                  <a:pt x="844985" y="3653748"/>
                </a:cubicBezTo>
                <a:cubicBezTo>
                  <a:pt x="1010483" y="3482386"/>
                  <a:pt x="1085352" y="3230268"/>
                  <a:pt x="1018364" y="2983074"/>
                </a:cubicBezTo>
                <a:cubicBezTo>
                  <a:pt x="952362" y="2735879"/>
                  <a:pt x="762236" y="2554669"/>
                  <a:pt x="532705" y="2488685"/>
                </a:cubicBezTo>
                <a:cubicBezTo>
                  <a:pt x="524824" y="2486715"/>
                  <a:pt x="517928" y="2484746"/>
                  <a:pt x="511033" y="2483761"/>
                </a:cubicBezTo>
                <a:cubicBezTo>
                  <a:pt x="281502" y="2417777"/>
                  <a:pt x="90390" y="2236567"/>
                  <a:pt x="24388" y="1989372"/>
                </a:cubicBezTo>
                <a:cubicBezTo>
                  <a:pt x="-9106" y="1865283"/>
                  <a:pt x="-7136" y="1741193"/>
                  <a:pt x="24388" y="1624982"/>
                </a:cubicBezTo>
                <a:cubicBezTo>
                  <a:pt x="25373" y="1622028"/>
                  <a:pt x="26358" y="1619073"/>
                  <a:pt x="27343" y="1616119"/>
                </a:cubicBezTo>
                <a:cubicBezTo>
                  <a:pt x="27343" y="1614149"/>
                  <a:pt x="28328" y="1612180"/>
                  <a:pt x="28328" y="1611195"/>
                </a:cubicBezTo>
                <a:cubicBezTo>
                  <a:pt x="48031" y="1536347"/>
                  <a:pt x="65763" y="1469378"/>
                  <a:pt x="82510" y="1409303"/>
                </a:cubicBezTo>
                <a:cubicBezTo>
                  <a:pt x="191857" y="1000595"/>
                  <a:pt x="220425" y="892263"/>
                  <a:pt x="330757" y="483555"/>
                </a:cubicBezTo>
                <a:cubicBezTo>
                  <a:pt x="346519" y="424465"/>
                  <a:pt x="363266" y="359466"/>
                  <a:pt x="383953" y="285603"/>
                </a:cubicBezTo>
                <a:cubicBezTo>
                  <a:pt x="384938" y="279694"/>
                  <a:pt x="386909" y="273785"/>
                  <a:pt x="387894" y="267876"/>
                </a:cubicBezTo>
                <a:cubicBezTo>
                  <a:pt x="414492" y="169392"/>
                  <a:pt x="461777" y="77802"/>
                  <a:pt x="526794" y="0"/>
                </a:cubicBezTo>
                <a:close/>
              </a:path>
            </a:pathLst>
          </a:custGeom>
        </p:spPr>
        <p:txBody>
          <a:bodyPr wrap="square" tIns="1656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77460259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06EE9A53-1C7B-5979-B7CE-200FF761C9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971" y="1890464"/>
            <a:ext cx="3656029" cy="4972199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AC6C5AD-53E7-7B70-DE54-586A3C97E7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81567" y="0"/>
            <a:ext cx="5310433" cy="4803646"/>
          </a:xfrm>
          <a:custGeom>
            <a:avLst/>
            <a:gdLst>
              <a:gd name="connsiteX0" fmla="*/ 426115 w 5528906"/>
              <a:gd name="connsiteY0" fmla="*/ 0 h 5001270"/>
              <a:gd name="connsiteX1" fmla="*/ 5528906 w 5528906"/>
              <a:gd name="connsiteY1" fmla="*/ 0 h 5001270"/>
              <a:gd name="connsiteX2" fmla="*/ 5527248 w 5528906"/>
              <a:gd name="connsiteY2" fmla="*/ 3025644 h 5001270"/>
              <a:gd name="connsiteX3" fmla="*/ 5527248 w 5528906"/>
              <a:gd name="connsiteY3" fmla="*/ 1973967 h 5001270"/>
              <a:gd name="connsiteX4" fmla="*/ 5522272 w 5528906"/>
              <a:gd name="connsiteY4" fmla="*/ 1975626 h 5001270"/>
              <a:gd name="connsiteX5" fmla="*/ 5505689 w 5528906"/>
              <a:gd name="connsiteY5" fmla="*/ 1978944 h 5001270"/>
              <a:gd name="connsiteX6" fmla="*/ 5444330 w 5528906"/>
              <a:gd name="connsiteY6" fmla="*/ 1992214 h 5001270"/>
              <a:gd name="connsiteX7" fmla="*/ 5427746 w 5528906"/>
              <a:gd name="connsiteY7" fmla="*/ 1997191 h 5001270"/>
              <a:gd name="connsiteX8" fmla="*/ 5368044 w 5528906"/>
              <a:gd name="connsiteY8" fmla="*/ 2012120 h 5001270"/>
              <a:gd name="connsiteX9" fmla="*/ 5351461 w 5528906"/>
              <a:gd name="connsiteY9" fmla="*/ 2015437 h 5001270"/>
              <a:gd name="connsiteX10" fmla="*/ 5290102 w 5528906"/>
              <a:gd name="connsiteY10" fmla="*/ 2032025 h 5001270"/>
              <a:gd name="connsiteX11" fmla="*/ 5276834 w 5528906"/>
              <a:gd name="connsiteY11" fmla="*/ 2037002 h 5001270"/>
              <a:gd name="connsiteX12" fmla="*/ 5212158 w 5528906"/>
              <a:gd name="connsiteY12" fmla="*/ 2053590 h 5001270"/>
              <a:gd name="connsiteX13" fmla="*/ 5203867 w 5528906"/>
              <a:gd name="connsiteY13" fmla="*/ 2056907 h 5001270"/>
              <a:gd name="connsiteX14" fmla="*/ 5135874 w 5528906"/>
              <a:gd name="connsiteY14" fmla="*/ 2076813 h 5001270"/>
              <a:gd name="connsiteX15" fmla="*/ 4905361 w 5528906"/>
              <a:gd name="connsiteY15" fmla="*/ 2154776 h 5001270"/>
              <a:gd name="connsiteX16" fmla="*/ 2882155 w 5528906"/>
              <a:gd name="connsiteY16" fmla="*/ 3558118 h 5001270"/>
              <a:gd name="connsiteX17" fmla="*/ 2880496 w 5528906"/>
              <a:gd name="connsiteY17" fmla="*/ 3561435 h 5001270"/>
              <a:gd name="connsiteX18" fmla="*/ 2872204 w 5528906"/>
              <a:gd name="connsiteY18" fmla="*/ 3569729 h 5001270"/>
              <a:gd name="connsiteX19" fmla="*/ 2840696 w 5528906"/>
              <a:gd name="connsiteY19" fmla="*/ 3609540 h 5001270"/>
              <a:gd name="connsiteX20" fmla="*/ 2829087 w 5528906"/>
              <a:gd name="connsiteY20" fmla="*/ 3621152 h 5001270"/>
              <a:gd name="connsiteX21" fmla="*/ 2829087 w 5528906"/>
              <a:gd name="connsiteY21" fmla="*/ 3622811 h 5001270"/>
              <a:gd name="connsiteX22" fmla="*/ 2785969 w 5528906"/>
              <a:gd name="connsiteY22" fmla="*/ 3674233 h 5001270"/>
              <a:gd name="connsiteX23" fmla="*/ 2776019 w 5528906"/>
              <a:gd name="connsiteY23" fmla="*/ 3687504 h 5001270"/>
              <a:gd name="connsiteX24" fmla="*/ 2734560 w 5528906"/>
              <a:gd name="connsiteY24" fmla="*/ 3740585 h 5001270"/>
              <a:gd name="connsiteX25" fmla="*/ 2731243 w 5528906"/>
              <a:gd name="connsiteY25" fmla="*/ 3745562 h 5001270"/>
              <a:gd name="connsiteX26" fmla="*/ 2693101 w 5528906"/>
              <a:gd name="connsiteY26" fmla="*/ 3795325 h 5001270"/>
              <a:gd name="connsiteX27" fmla="*/ 2683151 w 5528906"/>
              <a:gd name="connsiteY27" fmla="*/ 3808596 h 5001270"/>
              <a:gd name="connsiteX28" fmla="*/ 2643350 w 5528906"/>
              <a:gd name="connsiteY28" fmla="*/ 3861677 h 5001270"/>
              <a:gd name="connsiteX29" fmla="*/ 2638375 w 5528906"/>
              <a:gd name="connsiteY29" fmla="*/ 3869971 h 5001270"/>
              <a:gd name="connsiteX30" fmla="*/ 2603549 w 5528906"/>
              <a:gd name="connsiteY30" fmla="*/ 3918076 h 5001270"/>
              <a:gd name="connsiteX31" fmla="*/ 2593599 w 5528906"/>
              <a:gd name="connsiteY31" fmla="*/ 3931347 h 5001270"/>
              <a:gd name="connsiteX32" fmla="*/ 2557115 w 5528906"/>
              <a:gd name="connsiteY32" fmla="*/ 3986087 h 5001270"/>
              <a:gd name="connsiteX33" fmla="*/ 2548823 w 5528906"/>
              <a:gd name="connsiteY33" fmla="*/ 3996040 h 5001270"/>
              <a:gd name="connsiteX34" fmla="*/ 2517314 w 5528906"/>
              <a:gd name="connsiteY34" fmla="*/ 4044145 h 5001270"/>
              <a:gd name="connsiteX35" fmla="*/ 2509022 w 5528906"/>
              <a:gd name="connsiteY35" fmla="*/ 4059074 h 5001270"/>
              <a:gd name="connsiteX36" fmla="*/ 2474197 w 5528906"/>
              <a:gd name="connsiteY36" fmla="*/ 4113814 h 5001270"/>
              <a:gd name="connsiteX37" fmla="*/ 2465905 w 5528906"/>
              <a:gd name="connsiteY37" fmla="*/ 4125426 h 5001270"/>
              <a:gd name="connsiteX38" fmla="*/ 2436054 w 5528906"/>
              <a:gd name="connsiteY38" fmla="*/ 4173531 h 5001270"/>
              <a:gd name="connsiteX39" fmla="*/ 2427762 w 5528906"/>
              <a:gd name="connsiteY39" fmla="*/ 4186801 h 5001270"/>
              <a:gd name="connsiteX40" fmla="*/ 2394595 w 5528906"/>
              <a:gd name="connsiteY40" fmla="*/ 4243200 h 5001270"/>
              <a:gd name="connsiteX41" fmla="*/ 2386303 w 5528906"/>
              <a:gd name="connsiteY41" fmla="*/ 4256471 h 5001270"/>
              <a:gd name="connsiteX42" fmla="*/ 2359769 w 5528906"/>
              <a:gd name="connsiteY42" fmla="*/ 4304576 h 5001270"/>
              <a:gd name="connsiteX43" fmla="*/ 2351478 w 5528906"/>
              <a:gd name="connsiteY43" fmla="*/ 4317846 h 5001270"/>
              <a:gd name="connsiteX44" fmla="*/ 2319969 w 5528906"/>
              <a:gd name="connsiteY44" fmla="*/ 4374245 h 5001270"/>
              <a:gd name="connsiteX45" fmla="*/ 2311677 w 5528906"/>
              <a:gd name="connsiteY45" fmla="*/ 4389175 h 5001270"/>
              <a:gd name="connsiteX46" fmla="*/ 2285143 w 5528906"/>
              <a:gd name="connsiteY46" fmla="*/ 4438938 h 5001270"/>
              <a:gd name="connsiteX47" fmla="*/ 2278510 w 5528906"/>
              <a:gd name="connsiteY47" fmla="*/ 4450550 h 5001270"/>
              <a:gd name="connsiteX48" fmla="*/ 2248659 w 5528906"/>
              <a:gd name="connsiteY48" fmla="*/ 4508608 h 5001270"/>
              <a:gd name="connsiteX49" fmla="*/ 2242026 w 5528906"/>
              <a:gd name="connsiteY49" fmla="*/ 4525196 h 5001270"/>
              <a:gd name="connsiteX50" fmla="*/ 2215492 w 5528906"/>
              <a:gd name="connsiteY50" fmla="*/ 4574960 h 5001270"/>
              <a:gd name="connsiteX51" fmla="*/ 2210517 w 5528906"/>
              <a:gd name="connsiteY51" fmla="*/ 4586571 h 5001270"/>
              <a:gd name="connsiteX52" fmla="*/ 2182324 w 5528906"/>
              <a:gd name="connsiteY52" fmla="*/ 4644629 h 5001270"/>
              <a:gd name="connsiteX53" fmla="*/ 2175691 w 5528906"/>
              <a:gd name="connsiteY53" fmla="*/ 4661217 h 5001270"/>
              <a:gd name="connsiteX54" fmla="*/ 2150815 w 5528906"/>
              <a:gd name="connsiteY54" fmla="*/ 4715957 h 5001270"/>
              <a:gd name="connsiteX55" fmla="*/ 2147499 w 5528906"/>
              <a:gd name="connsiteY55" fmla="*/ 4724251 h 5001270"/>
              <a:gd name="connsiteX56" fmla="*/ 2120965 w 5528906"/>
              <a:gd name="connsiteY56" fmla="*/ 4783968 h 5001270"/>
              <a:gd name="connsiteX57" fmla="*/ 2112673 w 5528906"/>
              <a:gd name="connsiteY57" fmla="*/ 4800556 h 5001270"/>
              <a:gd name="connsiteX58" fmla="*/ 2089456 w 5528906"/>
              <a:gd name="connsiteY58" fmla="*/ 4858614 h 5001270"/>
              <a:gd name="connsiteX59" fmla="*/ 2087798 w 5528906"/>
              <a:gd name="connsiteY59" fmla="*/ 4863590 h 5001270"/>
              <a:gd name="connsiteX60" fmla="*/ 2062922 w 5528906"/>
              <a:gd name="connsiteY60" fmla="*/ 4924966 h 5001270"/>
              <a:gd name="connsiteX61" fmla="*/ 2056289 w 5528906"/>
              <a:gd name="connsiteY61" fmla="*/ 4939895 h 5001270"/>
              <a:gd name="connsiteX62" fmla="*/ 2033072 w 5528906"/>
              <a:gd name="connsiteY62" fmla="*/ 5001270 h 5001270"/>
              <a:gd name="connsiteX63" fmla="*/ 598585 w 5528906"/>
              <a:gd name="connsiteY63" fmla="*/ 3808596 h 5001270"/>
              <a:gd name="connsiteX64" fmla="*/ 106051 w 5528906"/>
              <a:gd name="connsiteY64" fmla="*/ 3128489 h 5001270"/>
              <a:gd name="connsiteX65" fmla="*/ 104392 w 5528906"/>
              <a:gd name="connsiteY65" fmla="*/ 3126831 h 5001270"/>
              <a:gd name="connsiteX66" fmla="*/ 104392 w 5528906"/>
              <a:gd name="connsiteY66" fmla="*/ 3123513 h 5001270"/>
              <a:gd name="connsiteX67" fmla="*/ 101076 w 5528906"/>
              <a:gd name="connsiteY67" fmla="*/ 3116878 h 5001270"/>
              <a:gd name="connsiteX68" fmla="*/ 96100 w 5528906"/>
              <a:gd name="connsiteY68" fmla="*/ 3103607 h 5001270"/>
              <a:gd name="connsiteX69" fmla="*/ 94442 w 5528906"/>
              <a:gd name="connsiteY69" fmla="*/ 3096972 h 5001270"/>
              <a:gd name="connsiteX70" fmla="*/ 91125 w 5528906"/>
              <a:gd name="connsiteY70" fmla="*/ 3087020 h 5001270"/>
              <a:gd name="connsiteX71" fmla="*/ 87809 w 5528906"/>
              <a:gd name="connsiteY71" fmla="*/ 3082043 h 5001270"/>
              <a:gd name="connsiteX72" fmla="*/ 87809 w 5528906"/>
              <a:gd name="connsiteY72" fmla="*/ 3078726 h 5001270"/>
              <a:gd name="connsiteX73" fmla="*/ 82834 w 5528906"/>
              <a:gd name="connsiteY73" fmla="*/ 3065455 h 5001270"/>
              <a:gd name="connsiteX74" fmla="*/ 82834 w 5528906"/>
              <a:gd name="connsiteY74" fmla="*/ 3063796 h 5001270"/>
              <a:gd name="connsiteX75" fmla="*/ 24791 w 5528906"/>
              <a:gd name="connsiteY75" fmla="*/ 2274209 h 5001270"/>
              <a:gd name="connsiteX76" fmla="*/ 28107 w 5528906"/>
              <a:gd name="connsiteY76" fmla="*/ 2259280 h 5001270"/>
              <a:gd name="connsiteX77" fmla="*/ 426115 w 5528906"/>
              <a:gd name="connsiteY77" fmla="*/ 0 h 5001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528906" h="5001270">
                <a:moveTo>
                  <a:pt x="426115" y="0"/>
                </a:moveTo>
                <a:cubicBezTo>
                  <a:pt x="426115" y="0"/>
                  <a:pt x="426115" y="0"/>
                  <a:pt x="5528906" y="0"/>
                </a:cubicBezTo>
                <a:cubicBezTo>
                  <a:pt x="5528906" y="0"/>
                  <a:pt x="5528906" y="0"/>
                  <a:pt x="5527248" y="3025644"/>
                </a:cubicBezTo>
                <a:cubicBezTo>
                  <a:pt x="5527248" y="3025644"/>
                  <a:pt x="5527248" y="3025644"/>
                  <a:pt x="5527248" y="1973967"/>
                </a:cubicBezTo>
                <a:cubicBezTo>
                  <a:pt x="5525590" y="1973967"/>
                  <a:pt x="5523931" y="1973967"/>
                  <a:pt x="5522272" y="1975626"/>
                </a:cubicBezTo>
                <a:cubicBezTo>
                  <a:pt x="5517298" y="1975626"/>
                  <a:pt x="5510664" y="1977285"/>
                  <a:pt x="5505689" y="1978944"/>
                </a:cubicBezTo>
                <a:cubicBezTo>
                  <a:pt x="5485788" y="1983920"/>
                  <a:pt x="5464230" y="1987238"/>
                  <a:pt x="5444330" y="1992214"/>
                </a:cubicBezTo>
                <a:cubicBezTo>
                  <a:pt x="5439354" y="1993873"/>
                  <a:pt x="5432721" y="1995532"/>
                  <a:pt x="5427746" y="1997191"/>
                </a:cubicBezTo>
                <a:cubicBezTo>
                  <a:pt x="5407846" y="2002167"/>
                  <a:pt x="5387945" y="2007143"/>
                  <a:pt x="5368044" y="2012120"/>
                </a:cubicBezTo>
                <a:cubicBezTo>
                  <a:pt x="5361411" y="2013779"/>
                  <a:pt x="5356436" y="2015437"/>
                  <a:pt x="5351461" y="2015437"/>
                </a:cubicBezTo>
                <a:cubicBezTo>
                  <a:pt x="5329902" y="2022073"/>
                  <a:pt x="5310002" y="2027049"/>
                  <a:pt x="5290102" y="2032025"/>
                </a:cubicBezTo>
                <a:cubicBezTo>
                  <a:pt x="5285126" y="2033684"/>
                  <a:pt x="5280151" y="2035343"/>
                  <a:pt x="5276834" y="2037002"/>
                </a:cubicBezTo>
                <a:cubicBezTo>
                  <a:pt x="5255276" y="2041978"/>
                  <a:pt x="5233717" y="2048613"/>
                  <a:pt x="5212158" y="2053590"/>
                </a:cubicBezTo>
                <a:cubicBezTo>
                  <a:pt x="5210500" y="2055248"/>
                  <a:pt x="5207183" y="2055248"/>
                  <a:pt x="5203867" y="2056907"/>
                </a:cubicBezTo>
                <a:cubicBezTo>
                  <a:pt x="5180649" y="2063542"/>
                  <a:pt x="5159091" y="2070178"/>
                  <a:pt x="5135874" y="2076813"/>
                </a:cubicBezTo>
                <a:cubicBezTo>
                  <a:pt x="5057930" y="2101695"/>
                  <a:pt x="4981646" y="2126577"/>
                  <a:pt x="4905361" y="2154776"/>
                </a:cubicBezTo>
                <a:cubicBezTo>
                  <a:pt x="4091103" y="2450042"/>
                  <a:pt x="3406198" y="2942704"/>
                  <a:pt x="2882155" y="3558118"/>
                </a:cubicBezTo>
                <a:cubicBezTo>
                  <a:pt x="2882155" y="3559776"/>
                  <a:pt x="2880496" y="3559776"/>
                  <a:pt x="2880496" y="3561435"/>
                </a:cubicBezTo>
                <a:cubicBezTo>
                  <a:pt x="2877180" y="3564753"/>
                  <a:pt x="2875521" y="3568070"/>
                  <a:pt x="2872204" y="3569729"/>
                </a:cubicBezTo>
                <a:cubicBezTo>
                  <a:pt x="2862254" y="3583000"/>
                  <a:pt x="2850646" y="3596270"/>
                  <a:pt x="2840696" y="3609540"/>
                </a:cubicBezTo>
                <a:cubicBezTo>
                  <a:pt x="2835720" y="3612858"/>
                  <a:pt x="2832404" y="3617834"/>
                  <a:pt x="2829087" y="3621152"/>
                </a:cubicBezTo>
                <a:cubicBezTo>
                  <a:pt x="2829087" y="3621152"/>
                  <a:pt x="2829087" y="3621152"/>
                  <a:pt x="2829087" y="3622811"/>
                </a:cubicBezTo>
                <a:cubicBezTo>
                  <a:pt x="2814162" y="3639399"/>
                  <a:pt x="2800895" y="3655987"/>
                  <a:pt x="2785969" y="3674233"/>
                </a:cubicBezTo>
                <a:cubicBezTo>
                  <a:pt x="2782653" y="3679210"/>
                  <a:pt x="2779336" y="3682527"/>
                  <a:pt x="2776019" y="3687504"/>
                </a:cubicBezTo>
                <a:cubicBezTo>
                  <a:pt x="2761094" y="3705750"/>
                  <a:pt x="2747827" y="3722338"/>
                  <a:pt x="2734560" y="3740585"/>
                </a:cubicBezTo>
                <a:cubicBezTo>
                  <a:pt x="2732902" y="3742244"/>
                  <a:pt x="2731243" y="3743903"/>
                  <a:pt x="2731243" y="3745562"/>
                </a:cubicBezTo>
                <a:cubicBezTo>
                  <a:pt x="2717976" y="3762149"/>
                  <a:pt x="2704710" y="3778737"/>
                  <a:pt x="2693101" y="3795325"/>
                </a:cubicBezTo>
                <a:cubicBezTo>
                  <a:pt x="2689784" y="3798643"/>
                  <a:pt x="2686468" y="3803619"/>
                  <a:pt x="2683151" y="3808596"/>
                </a:cubicBezTo>
                <a:cubicBezTo>
                  <a:pt x="2669884" y="3826843"/>
                  <a:pt x="2656617" y="3843431"/>
                  <a:pt x="2643350" y="3861677"/>
                </a:cubicBezTo>
                <a:cubicBezTo>
                  <a:pt x="2641692" y="3864995"/>
                  <a:pt x="2640033" y="3866654"/>
                  <a:pt x="2638375" y="3869971"/>
                </a:cubicBezTo>
                <a:cubicBezTo>
                  <a:pt x="2626766" y="3886559"/>
                  <a:pt x="2615158" y="3901488"/>
                  <a:pt x="2603549" y="3918076"/>
                </a:cubicBezTo>
                <a:cubicBezTo>
                  <a:pt x="2600232" y="3923053"/>
                  <a:pt x="2596916" y="3928029"/>
                  <a:pt x="2593599" y="3931347"/>
                </a:cubicBezTo>
                <a:cubicBezTo>
                  <a:pt x="2581990" y="3949593"/>
                  <a:pt x="2568724" y="3967840"/>
                  <a:pt x="2557115" y="3986087"/>
                </a:cubicBezTo>
                <a:cubicBezTo>
                  <a:pt x="2553798" y="3989405"/>
                  <a:pt x="2552140" y="3992722"/>
                  <a:pt x="2548823" y="3996040"/>
                </a:cubicBezTo>
                <a:cubicBezTo>
                  <a:pt x="2538873" y="4012628"/>
                  <a:pt x="2528923" y="4029216"/>
                  <a:pt x="2517314" y="4044145"/>
                </a:cubicBezTo>
                <a:cubicBezTo>
                  <a:pt x="2515656" y="4049121"/>
                  <a:pt x="2512339" y="4054098"/>
                  <a:pt x="2509022" y="4059074"/>
                </a:cubicBezTo>
                <a:cubicBezTo>
                  <a:pt x="2497414" y="4077321"/>
                  <a:pt x="2485805" y="4095567"/>
                  <a:pt x="2474197" y="4113814"/>
                </a:cubicBezTo>
                <a:cubicBezTo>
                  <a:pt x="2470880" y="4117132"/>
                  <a:pt x="2469222" y="4122108"/>
                  <a:pt x="2465905" y="4125426"/>
                </a:cubicBezTo>
                <a:cubicBezTo>
                  <a:pt x="2455955" y="4142014"/>
                  <a:pt x="2446004" y="4156943"/>
                  <a:pt x="2436054" y="4173531"/>
                </a:cubicBezTo>
                <a:cubicBezTo>
                  <a:pt x="2434396" y="4178507"/>
                  <a:pt x="2431079" y="4181825"/>
                  <a:pt x="2427762" y="4186801"/>
                </a:cubicBezTo>
                <a:cubicBezTo>
                  <a:pt x="2416154" y="4205048"/>
                  <a:pt x="2406204" y="4224954"/>
                  <a:pt x="2394595" y="4243200"/>
                </a:cubicBezTo>
                <a:cubicBezTo>
                  <a:pt x="2391278" y="4248177"/>
                  <a:pt x="2389620" y="4251494"/>
                  <a:pt x="2386303" y="4256471"/>
                </a:cubicBezTo>
                <a:cubicBezTo>
                  <a:pt x="2378012" y="4273059"/>
                  <a:pt x="2368061" y="4287988"/>
                  <a:pt x="2359769" y="4304576"/>
                </a:cubicBezTo>
                <a:cubicBezTo>
                  <a:pt x="2356453" y="4309552"/>
                  <a:pt x="2354794" y="4312870"/>
                  <a:pt x="2351478" y="4317846"/>
                </a:cubicBezTo>
                <a:cubicBezTo>
                  <a:pt x="2341527" y="4336093"/>
                  <a:pt x="2329919" y="4355999"/>
                  <a:pt x="2319969" y="4374245"/>
                </a:cubicBezTo>
                <a:cubicBezTo>
                  <a:pt x="2316652" y="4379222"/>
                  <a:pt x="2314994" y="4384198"/>
                  <a:pt x="2311677" y="4389175"/>
                </a:cubicBezTo>
                <a:cubicBezTo>
                  <a:pt x="2303385" y="4405762"/>
                  <a:pt x="2295093" y="4422350"/>
                  <a:pt x="2285143" y="4438938"/>
                </a:cubicBezTo>
                <a:cubicBezTo>
                  <a:pt x="2283485" y="4442256"/>
                  <a:pt x="2281826" y="4447232"/>
                  <a:pt x="2278510" y="4450550"/>
                </a:cubicBezTo>
                <a:cubicBezTo>
                  <a:pt x="2268559" y="4470456"/>
                  <a:pt x="2258609" y="4488702"/>
                  <a:pt x="2248659" y="4508608"/>
                </a:cubicBezTo>
                <a:cubicBezTo>
                  <a:pt x="2247001" y="4513584"/>
                  <a:pt x="2243684" y="4520219"/>
                  <a:pt x="2242026" y="4525196"/>
                </a:cubicBezTo>
                <a:cubicBezTo>
                  <a:pt x="2232075" y="4541784"/>
                  <a:pt x="2223784" y="4558372"/>
                  <a:pt x="2215492" y="4574960"/>
                </a:cubicBezTo>
                <a:cubicBezTo>
                  <a:pt x="2213833" y="4578277"/>
                  <a:pt x="2212175" y="4583254"/>
                  <a:pt x="2210517" y="4586571"/>
                </a:cubicBezTo>
                <a:cubicBezTo>
                  <a:pt x="2202225" y="4606477"/>
                  <a:pt x="2192275" y="4624724"/>
                  <a:pt x="2182324" y="4644629"/>
                </a:cubicBezTo>
                <a:cubicBezTo>
                  <a:pt x="2180666" y="4651264"/>
                  <a:pt x="2177349" y="4656241"/>
                  <a:pt x="2175691" y="4661217"/>
                </a:cubicBezTo>
                <a:cubicBezTo>
                  <a:pt x="2167399" y="4679464"/>
                  <a:pt x="2159107" y="4697711"/>
                  <a:pt x="2150815" y="4715957"/>
                </a:cubicBezTo>
                <a:cubicBezTo>
                  <a:pt x="2149157" y="4717616"/>
                  <a:pt x="2147499" y="4720934"/>
                  <a:pt x="2147499" y="4724251"/>
                </a:cubicBezTo>
                <a:cubicBezTo>
                  <a:pt x="2137548" y="4744157"/>
                  <a:pt x="2129257" y="4764062"/>
                  <a:pt x="2120965" y="4783968"/>
                </a:cubicBezTo>
                <a:cubicBezTo>
                  <a:pt x="2117648" y="4788944"/>
                  <a:pt x="2115990" y="4793921"/>
                  <a:pt x="2112673" y="4800556"/>
                </a:cubicBezTo>
                <a:cubicBezTo>
                  <a:pt x="2104381" y="4820461"/>
                  <a:pt x="2096089" y="4838708"/>
                  <a:pt x="2089456" y="4858614"/>
                </a:cubicBezTo>
                <a:cubicBezTo>
                  <a:pt x="2087798" y="4860273"/>
                  <a:pt x="2087798" y="4861931"/>
                  <a:pt x="2087798" y="4863590"/>
                </a:cubicBezTo>
                <a:cubicBezTo>
                  <a:pt x="2079506" y="4883496"/>
                  <a:pt x="2071214" y="4903401"/>
                  <a:pt x="2062922" y="4924966"/>
                </a:cubicBezTo>
                <a:cubicBezTo>
                  <a:pt x="2061264" y="4929942"/>
                  <a:pt x="2057947" y="4934918"/>
                  <a:pt x="2056289" y="4939895"/>
                </a:cubicBezTo>
                <a:cubicBezTo>
                  <a:pt x="2047997" y="4961459"/>
                  <a:pt x="2039705" y="4981365"/>
                  <a:pt x="2033072" y="5001270"/>
                </a:cubicBezTo>
                <a:lnTo>
                  <a:pt x="598585" y="3808596"/>
                </a:lnTo>
                <a:cubicBezTo>
                  <a:pt x="378023" y="3629446"/>
                  <a:pt x="207211" y="3393897"/>
                  <a:pt x="106051" y="3128489"/>
                </a:cubicBezTo>
                <a:cubicBezTo>
                  <a:pt x="106051" y="3128489"/>
                  <a:pt x="104392" y="3126831"/>
                  <a:pt x="104392" y="3126831"/>
                </a:cubicBezTo>
                <a:cubicBezTo>
                  <a:pt x="104392" y="3125172"/>
                  <a:pt x="104392" y="3125172"/>
                  <a:pt x="104392" y="3123513"/>
                </a:cubicBezTo>
                <a:cubicBezTo>
                  <a:pt x="102734" y="3121854"/>
                  <a:pt x="102734" y="3118537"/>
                  <a:pt x="101076" y="3116878"/>
                </a:cubicBezTo>
                <a:cubicBezTo>
                  <a:pt x="99417" y="3111901"/>
                  <a:pt x="97759" y="3108584"/>
                  <a:pt x="96100" y="3103607"/>
                </a:cubicBezTo>
                <a:cubicBezTo>
                  <a:pt x="96100" y="3101949"/>
                  <a:pt x="94442" y="3100290"/>
                  <a:pt x="94442" y="3096972"/>
                </a:cubicBezTo>
                <a:cubicBezTo>
                  <a:pt x="92784" y="3093655"/>
                  <a:pt x="91125" y="3090337"/>
                  <a:pt x="91125" y="3087020"/>
                </a:cubicBezTo>
                <a:cubicBezTo>
                  <a:pt x="89467" y="3085361"/>
                  <a:pt x="89467" y="3083702"/>
                  <a:pt x="87809" y="3082043"/>
                </a:cubicBezTo>
                <a:cubicBezTo>
                  <a:pt x="87809" y="3080384"/>
                  <a:pt x="87809" y="3080384"/>
                  <a:pt x="87809" y="3078726"/>
                </a:cubicBezTo>
                <a:cubicBezTo>
                  <a:pt x="86150" y="3073749"/>
                  <a:pt x="84492" y="3070432"/>
                  <a:pt x="82834" y="3065455"/>
                </a:cubicBezTo>
                <a:cubicBezTo>
                  <a:pt x="82834" y="3065455"/>
                  <a:pt x="82834" y="3063796"/>
                  <a:pt x="82834" y="3063796"/>
                </a:cubicBezTo>
                <a:cubicBezTo>
                  <a:pt x="-85" y="2816636"/>
                  <a:pt x="-23302" y="2547911"/>
                  <a:pt x="24791" y="2274209"/>
                </a:cubicBezTo>
                <a:cubicBezTo>
                  <a:pt x="24791" y="2269233"/>
                  <a:pt x="26449" y="2264257"/>
                  <a:pt x="28107" y="2259280"/>
                </a:cubicBezTo>
                <a:cubicBezTo>
                  <a:pt x="28107" y="2259280"/>
                  <a:pt x="28107" y="2259280"/>
                  <a:pt x="426115" y="0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A4DE77-9882-E7B6-8FB7-7ECB44BA0D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2210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286995F-47F2-C84B-CE54-21B45DE47A0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7007" y="0"/>
            <a:ext cx="6244994" cy="6858000"/>
          </a:xfrm>
          <a:custGeom>
            <a:avLst/>
            <a:gdLst>
              <a:gd name="connsiteX0" fmla="*/ 0 w 3622675"/>
              <a:gd name="connsiteY0" fmla="*/ 0 h 3978275"/>
              <a:gd name="connsiteX1" fmla="*/ 3622675 w 3622675"/>
              <a:gd name="connsiteY1" fmla="*/ 0 h 3978275"/>
              <a:gd name="connsiteX2" fmla="*/ 3622675 w 3622675"/>
              <a:gd name="connsiteY2" fmla="*/ 2856907 h 3978275"/>
              <a:gd name="connsiteX3" fmla="*/ 3259116 w 3622675"/>
              <a:gd name="connsiteY3" fmla="*/ 2791432 h 3978275"/>
              <a:gd name="connsiteX4" fmla="*/ 2894633 w 3622675"/>
              <a:gd name="connsiteY4" fmla="*/ 2909471 h 3978275"/>
              <a:gd name="connsiteX5" fmla="*/ 2866951 w 3622675"/>
              <a:gd name="connsiteY5" fmla="*/ 2928837 h 3978275"/>
              <a:gd name="connsiteX6" fmla="*/ 2539379 w 3622675"/>
              <a:gd name="connsiteY6" fmla="*/ 3608482 h 3978275"/>
              <a:gd name="connsiteX7" fmla="*/ 2471096 w 3622675"/>
              <a:gd name="connsiteY7" fmla="*/ 3978275 h 3978275"/>
              <a:gd name="connsiteX8" fmla="*/ 1068532 w 3622675"/>
              <a:gd name="connsiteY8" fmla="*/ 3978275 h 3978275"/>
              <a:gd name="connsiteX9" fmla="*/ 1001172 w 3622675"/>
              <a:gd name="connsiteY9" fmla="*/ 3708077 h 3978275"/>
              <a:gd name="connsiteX10" fmla="*/ 1328745 w 3622675"/>
              <a:gd name="connsiteY10" fmla="*/ 3027510 h 3978275"/>
              <a:gd name="connsiteX11" fmla="*/ 1356427 w 3622675"/>
              <a:gd name="connsiteY11" fmla="*/ 3009066 h 3978275"/>
              <a:gd name="connsiteX12" fmla="*/ 1684000 w 3622675"/>
              <a:gd name="connsiteY12" fmla="*/ 2328499 h 3978275"/>
              <a:gd name="connsiteX13" fmla="*/ 1267844 w 3622675"/>
              <a:gd name="connsiteY13" fmla="*/ 1694041 h 3978275"/>
              <a:gd name="connsiteX14" fmla="*/ 1245698 w 3622675"/>
              <a:gd name="connsiteY14" fmla="*/ 1682975 h 3978275"/>
              <a:gd name="connsiteX15" fmla="*/ 1237394 w 3622675"/>
              <a:gd name="connsiteY15" fmla="*/ 1679286 h 3978275"/>
              <a:gd name="connsiteX16" fmla="*/ 0 w 3622675"/>
              <a:gd name="connsiteY16" fmla="*/ 0 h 3978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22675" h="3978275">
                <a:moveTo>
                  <a:pt x="0" y="0"/>
                </a:moveTo>
                <a:cubicBezTo>
                  <a:pt x="0" y="0"/>
                  <a:pt x="0" y="0"/>
                  <a:pt x="3622675" y="0"/>
                </a:cubicBezTo>
                <a:cubicBezTo>
                  <a:pt x="3622675" y="0"/>
                  <a:pt x="3622675" y="0"/>
                  <a:pt x="3622675" y="2856907"/>
                </a:cubicBezTo>
                <a:cubicBezTo>
                  <a:pt x="3511946" y="2807109"/>
                  <a:pt x="3388299" y="2783133"/>
                  <a:pt x="3259116" y="2791432"/>
                </a:cubicBezTo>
                <a:cubicBezTo>
                  <a:pt x="3124396" y="2799732"/>
                  <a:pt x="3000749" y="2842152"/>
                  <a:pt x="2894633" y="2909471"/>
                </a:cubicBezTo>
                <a:cubicBezTo>
                  <a:pt x="2885406" y="2915926"/>
                  <a:pt x="2876179" y="2922382"/>
                  <a:pt x="2866951" y="2928837"/>
                </a:cubicBezTo>
                <a:cubicBezTo>
                  <a:pt x="2653799" y="3077307"/>
                  <a:pt x="2520924" y="3330906"/>
                  <a:pt x="2539379" y="3608482"/>
                </a:cubicBezTo>
                <a:cubicBezTo>
                  <a:pt x="2547683" y="3740353"/>
                  <a:pt x="2522769" y="3865769"/>
                  <a:pt x="2471096" y="3978275"/>
                </a:cubicBezTo>
                <a:cubicBezTo>
                  <a:pt x="2471096" y="3978275"/>
                  <a:pt x="2471096" y="3978275"/>
                  <a:pt x="1068532" y="3978275"/>
                </a:cubicBezTo>
                <a:cubicBezTo>
                  <a:pt x="1030700" y="3895279"/>
                  <a:pt x="1006709" y="3803984"/>
                  <a:pt x="1001172" y="3708077"/>
                </a:cubicBezTo>
                <a:cubicBezTo>
                  <a:pt x="982718" y="3429579"/>
                  <a:pt x="1115592" y="3176903"/>
                  <a:pt x="1328745" y="3027510"/>
                </a:cubicBezTo>
                <a:cubicBezTo>
                  <a:pt x="1337972" y="3021977"/>
                  <a:pt x="1347200" y="3015522"/>
                  <a:pt x="1356427" y="3009066"/>
                </a:cubicBezTo>
                <a:cubicBezTo>
                  <a:pt x="1569580" y="2859673"/>
                  <a:pt x="1702454" y="2606997"/>
                  <a:pt x="1684000" y="2328499"/>
                </a:cubicBezTo>
                <a:cubicBezTo>
                  <a:pt x="1665545" y="2049079"/>
                  <a:pt x="1500374" y="1813924"/>
                  <a:pt x="1267844" y="1694041"/>
                </a:cubicBezTo>
                <a:cubicBezTo>
                  <a:pt x="1260462" y="1690352"/>
                  <a:pt x="1253080" y="1686663"/>
                  <a:pt x="1245698" y="1682975"/>
                </a:cubicBezTo>
                <a:cubicBezTo>
                  <a:pt x="1242930" y="1682052"/>
                  <a:pt x="1240162" y="1680208"/>
                  <a:pt x="1237394" y="1679286"/>
                </a:cubicBezTo>
                <a:cubicBezTo>
                  <a:pt x="597013" y="1355602"/>
                  <a:pt x="123647" y="741431"/>
                  <a:pt x="0" y="0"/>
                </a:cubicBezTo>
                <a:close/>
              </a:path>
            </a:pathLst>
          </a:custGeom>
        </p:spPr>
        <p:txBody>
          <a:bodyPr wrap="square" tIns="86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6184156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562D56E-5889-8C77-A1AE-6B1F43EF5F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88819" y="0"/>
            <a:ext cx="6203181" cy="6858000"/>
          </a:xfrm>
          <a:custGeom>
            <a:avLst/>
            <a:gdLst>
              <a:gd name="connsiteX0" fmla="*/ 509116 w 2993897"/>
              <a:gd name="connsiteY0" fmla="*/ 0 h 3309938"/>
              <a:gd name="connsiteX1" fmla="*/ 2993897 w 2993897"/>
              <a:gd name="connsiteY1" fmla="*/ 0 h 3309938"/>
              <a:gd name="connsiteX2" fmla="*/ 2993897 w 2993897"/>
              <a:gd name="connsiteY2" fmla="*/ 2783566 h 3309938"/>
              <a:gd name="connsiteX3" fmla="*/ 2916487 w 2993897"/>
              <a:gd name="connsiteY3" fmla="*/ 2641055 h 3309938"/>
              <a:gd name="connsiteX4" fmla="*/ 2507211 w 2993897"/>
              <a:gd name="connsiteY4" fmla="*/ 2292439 h 3309938"/>
              <a:gd name="connsiteX5" fmla="*/ 2506444 w 2993897"/>
              <a:gd name="connsiteY5" fmla="*/ 2291672 h 3309938"/>
              <a:gd name="connsiteX6" fmla="*/ 2491116 w 2993897"/>
              <a:gd name="connsiteY6" fmla="*/ 2289374 h 3309938"/>
              <a:gd name="connsiteX7" fmla="*/ 2490350 w 2993897"/>
              <a:gd name="connsiteY7" fmla="*/ 2289374 h 3309938"/>
              <a:gd name="connsiteX8" fmla="*/ 2473488 w 2993897"/>
              <a:gd name="connsiteY8" fmla="*/ 2286309 h 3309938"/>
              <a:gd name="connsiteX9" fmla="*/ 2472722 w 2993897"/>
              <a:gd name="connsiteY9" fmla="*/ 2286309 h 3309938"/>
              <a:gd name="connsiteX10" fmla="*/ 2458159 w 2993897"/>
              <a:gd name="connsiteY10" fmla="*/ 2284777 h 3309938"/>
              <a:gd name="connsiteX11" fmla="*/ 2455094 w 2993897"/>
              <a:gd name="connsiteY11" fmla="*/ 2284777 h 3309938"/>
              <a:gd name="connsiteX12" fmla="*/ 2441298 w 2993897"/>
              <a:gd name="connsiteY12" fmla="*/ 2283244 h 3309938"/>
              <a:gd name="connsiteX13" fmla="*/ 2438998 w 2993897"/>
              <a:gd name="connsiteY13" fmla="*/ 2283244 h 3309938"/>
              <a:gd name="connsiteX14" fmla="*/ 2406042 w 2993897"/>
              <a:gd name="connsiteY14" fmla="*/ 2282478 h 3309938"/>
              <a:gd name="connsiteX15" fmla="*/ 2404509 w 2993897"/>
              <a:gd name="connsiteY15" fmla="*/ 2282478 h 3309938"/>
              <a:gd name="connsiteX16" fmla="*/ 2390713 w 2993897"/>
              <a:gd name="connsiteY16" fmla="*/ 2282478 h 3309938"/>
              <a:gd name="connsiteX17" fmla="*/ 2386114 w 2993897"/>
              <a:gd name="connsiteY17" fmla="*/ 2282478 h 3309938"/>
              <a:gd name="connsiteX18" fmla="*/ 2374618 w 2993897"/>
              <a:gd name="connsiteY18" fmla="*/ 2283244 h 3309938"/>
              <a:gd name="connsiteX19" fmla="*/ 2369253 w 2993897"/>
              <a:gd name="connsiteY19" fmla="*/ 2283244 h 3309938"/>
              <a:gd name="connsiteX20" fmla="*/ 2358522 w 2993897"/>
              <a:gd name="connsiteY20" fmla="*/ 2284011 h 3309938"/>
              <a:gd name="connsiteX21" fmla="*/ 2353158 w 2993897"/>
              <a:gd name="connsiteY21" fmla="*/ 2284777 h 3309938"/>
              <a:gd name="connsiteX22" fmla="*/ 2338595 w 2993897"/>
              <a:gd name="connsiteY22" fmla="*/ 2286309 h 3309938"/>
              <a:gd name="connsiteX23" fmla="*/ 2332464 w 2993897"/>
              <a:gd name="connsiteY23" fmla="*/ 2287075 h 3309938"/>
              <a:gd name="connsiteX24" fmla="*/ 2322500 w 2993897"/>
              <a:gd name="connsiteY24" fmla="*/ 2288608 h 3309938"/>
              <a:gd name="connsiteX25" fmla="*/ 2315602 w 2993897"/>
              <a:gd name="connsiteY25" fmla="*/ 2289374 h 3309938"/>
              <a:gd name="connsiteX26" fmla="*/ 2307172 w 2993897"/>
              <a:gd name="connsiteY26" fmla="*/ 2290906 h 3309938"/>
              <a:gd name="connsiteX27" fmla="*/ 2299507 w 2993897"/>
              <a:gd name="connsiteY27" fmla="*/ 2292439 h 3309938"/>
              <a:gd name="connsiteX28" fmla="*/ 2290310 w 2993897"/>
              <a:gd name="connsiteY28" fmla="*/ 2293971 h 3309938"/>
              <a:gd name="connsiteX29" fmla="*/ 2284178 w 2993897"/>
              <a:gd name="connsiteY29" fmla="*/ 2295503 h 3309938"/>
              <a:gd name="connsiteX30" fmla="*/ 2268850 w 2993897"/>
              <a:gd name="connsiteY30" fmla="*/ 2299334 h 3309938"/>
              <a:gd name="connsiteX31" fmla="*/ 2252755 w 2993897"/>
              <a:gd name="connsiteY31" fmla="*/ 2303932 h 3309938"/>
              <a:gd name="connsiteX32" fmla="*/ 2251222 w 2993897"/>
              <a:gd name="connsiteY32" fmla="*/ 2303932 h 3309938"/>
              <a:gd name="connsiteX33" fmla="*/ 2217499 w 2993897"/>
              <a:gd name="connsiteY33" fmla="*/ 2315424 h 3309938"/>
              <a:gd name="connsiteX34" fmla="*/ 2184542 w 2993897"/>
              <a:gd name="connsiteY34" fmla="*/ 2328450 h 3309938"/>
              <a:gd name="connsiteX35" fmla="*/ 1992167 w 2993897"/>
              <a:gd name="connsiteY35" fmla="*/ 2470195 h 3309938"/>
              <a:gd name="connsiteX36" fmla="*/ 1981437 w 2993897"/>
              <a:gd name="connsiteY36" fmla="*/ 2483220 h 3309938"/>
              <a:gd name="connsiteX37" fmla="*/ 1891764 w 2993897"/>
              <a:gd name="connsiteY37" fmla="*/ 3013423 h 3309938"/>
              <a:gd name="connsiteX38" fmla="*/ 1913991 w 2993897"/>
              <a:gd name="connsiteY38" fmla="*/ 3309938 h 3309938"/>
              <a:gd name="connsiteX39" fmla="*/ 663169 w 2993897"/>
              <a:gd name="connsiteY39" fmla="*/ 3309938 h 3309938"/>
              <a:gd name="connsiteX40" fmla="*/ 201776 w 2993897"/>
              <a:gd name="connsiteY40" fmla="*/ 2922246 h 3309938"/>
              <a:gd name="connsiteX41" fmla="*/ 33160 w 2993897"/>
              <a:gd name="connsiteY41" fmla="*/ 2685494 h 3309938"/>
              <a:gd name="connsiteX42" fmla="*/ 122066 w 2993897"/>
              <a:gd name="connsiteY42" fmla="*/ 2156057 h 3309938"/>
              <a:gd name="connsiteX43" fmla="*/ 132796 w 2993897"/>
              <a:gd name="connsiteY43" fmla="*/ 2142266 h 3309938"/>
              <a:gd name="connsiteX44" fmla="*/ 358895 w 2993897"/>
              <a:gd name="connsiteY44" fmla="*/ 1987495 h 3309938"/>
              <a:gd name="connsiteX45" fmla="*/ 630979 w 2993897"/>
              <a:gd name="connsiteY45" fmla="*/ 1961445 h 3309938"/>
              <a:gd name="connsiteX46" fmla="*/ 647841 w 2993897"/>
              <a:gd name="connsiteY46" fmla="*/ 1964510 h 3309938"/>
              <a:gd name="connsiteX47" fmla="*/ 920691 w 2993897"/>
              <a:gd name="connsiteY47" fmla="*/ 1938459 h 3309938"/>
              <a:gd name="connsiteX48" fmla="*/ 1146023 w 2993897"/>
              <a:gd name="connsiteY48" fmla="*/ 1782923 h 3309938"/>
              <a:gd name="connsiteX49" fmla="*/ 1157520 w 2993897"/>
              <a:gd name="connsiteY49" fmla="*/ 1769898 h 3309938"/>
              <a:gd name="connsiteX50" fmla="*/ 1159052 w 2993897"/>
              <a:gd name="connsiteY50" fmla="*/ 1767599 h 3309938"/>
              <a:gd name="connsiteX51" fmla="*/ 1167483 w 2993897"/>
              <a:gd name="connsiteY51" fmla="*/ 1756106 h 3309938"/>
              <a:gd name="connsiteX52" fmla="*/ 1172082 w 2993897"/>
              <a:gd name="connsiteY52" fmla="*/ 1751509 h 3309938"/>
              <a:gd name="connsiteX53" fmla="*/ 1178213 w 2993897"/>
              <a:gd name="connsiteY53" fmla="*/ 1742315 h 3309938"/>
              <a:gd name="connsiteX54" fmla="*/ 1182046 w 2993897"/>
              <a:gd name="connsiteY54" fmla="*/ 1736951 h 3309938"/>
              <a:gd name="connsiteX55" fmla="*/ 1187411 w 2993897"/>
              <a:gd name="connsiteY55" fmla="*/ 1728523 h 3309938"/>
              <a:gd name="connsiteX56" fmla="*/ 1192009 w 2993897"/>
              <a:gd name="connsiteY56" fmla="*/ 1722394 h 3309938"/>
              <a:gd name="connsiteX57" fmla="*/ 1196608 w 2993897"/>
              <a:gd name="connsiteY57" fmla="*/ 1713966 h 3309938"/>
              <a:gd name="connsiteX58" fmla="*/ 1201206 w 2993897"/>
              <a:gd name="connsiteY58" fmla="*/ 1707836 h 3309938"/>
              <a:gd name="connsiteX59" fmla="*/ 1205805 w 2993897"/>
              <a:gd name="connsiteY59" fmla="*/ 1699408 h 3309938"/>
              <a:gd name="connsiteX60" fmla="*/ 1209637 w 2993897"/>
              <a:gd name="connsiteY60" fmla="*/ 1692512 h 3309938"/>
              <a:gd name="connsiteX61" fmla="*/ 1214236 w 2993897"/>
              <a:gd name="connsiteY61" fmla="*/ 1684851 h 3309938"/>
              <a:gd name="connsiteX62" fmla="*/ 1217302 w 2993897"/>
              <a:gd name="connsiteY62" fmla="*/ 1677955 h 3309938"/>
              <a:gd name="connsiteX63" fmla="*/ 1221900 w 2993897"/>
              <a:gd name="connsiteY63" fmla="*/ 1669527 h 3309938"/>
              <a:gd name="connsiteX64" fmla="*/ 1224966 w 2993897"/>
              <a:gd name="connsiteY64" fmla="*/ 1662631 h 3309938"/>
              <a:gd name="connsiteX65" fmla="*/ 1228798 w 2993897"/>
              <a:gd name="connsiteY65" fmla="*/ 1654203 h 3309938"/>
              <a:gd name="connsiteX66" fmla="*/ 1232630 w 2993897"/>
              <a:gd name="connsiteY66" fmla="*/ 1646541 h 3309938"/>
              <a:gd name="connsiteX67" fmla="*/ 1235696 w 2993897"/>
              <a:gd name="connsiteY67" fmla="*/ 1638879 h 3309938"/>
              <a:gd name="connsiteX68" fmla="*/ 1239528 w 2993897"/>
              <a:gd name="connsiteY68" fmla="*/ 1631217 h 3309938"/>
              <a:gd name="connsiteX69" fmla="*/ 1242594 w 2993897"/>
              <a:gd name="connsiteY69" fmla="*/ 1622789 h 3309938"/>
              <a:gd name="connsiteX70" fmla="*/ 1245660 w 2993897"/>
              <a:gd name="connsiteY70" fmla="*/ 1615127 h 3309938"/>
              <a:gd name="connsiteX71" fmla="*/ 1248725 w 2993897"/>
              <a:gd name="connsiteY71" fmla="*/ 1606699 h 3309938"/>
              <a:gd name="connsiteX72" fmla="*/ 1251025 w 2993897"/>
              <a:gd name="connsiteY72" fmla="*/ 1599037 h 3309938"/>
              <a:gd name="connsiteX73" fmla="*/ 1254090 w 2993897"/>
              <a:gd name="connsiteY73" fmla="*/ 1590609 h 3309938"/>
              <a:gd name="connsiteX74" fmla="*/ 1256390 w 2993897"/>
              <a:gd name="connsiteY74" fmla="*/ 1582947 h 3309938"/>
              <a:gd name="connsiteX75" fmla="*/ 1258689 w 2993897"/>
              <a:gd name="connsiteY75" fmla="*/ 1574519 h 3309938"/>
              <a:gd name="connsiteX76" fmla="*/ 1260988 w 2993897"/>
              <a:gd name="connsiteY76" fmla="*/ 1566091 h 3309938"/>
              <a:gd name="connsiteX77" fmla="*/ 1263288 w 2993897"/>
              <a:gd name="connsiteY77" fmla="*/ 1557663 h 3309938"/>
              <a:gd name="connsiteX78" fmla="*/ 1264820 w 2993897"/>
              <a:gd name="connsiteY78" fmla="*/ 1550001 h 3309938"/>
              <a:gd name="connsiteX79" fmla="*/ 1267120 w 2993897"/>
              <a:gd name="connsiteY79" fmla="*/ 1541573 h 3309938"/>
              <a:gd name="connsiteX80" fmla="*/ 1268653 w 2993897"/>
              <a:gd name="connsiteY80" fmla="*/ 1533145 h 3309938"/>
              <a:gd name="connsiteX81" fmla="*/ 1270186 w 2993897"/>
              <a:gd name="connsiteY81" fmla="*/ 1524717 h 3309938"/>
              <a:gd name="connsiteX82" fmla="*/ 1271718 w 2993897"/>
              <a:gd name="connsiteY82" fmla="*/ 1516289 h 3309938"/>
              <a:gd name="connsiteX83" fmla="*/ 1273251 w 2993897"/>
              <a:gd name="connsiteY83" fmla="*/ 1507861 h 3309938"/>
              <a:gd name="connsiteX84" fmla="*/ 1274018 w 2993897"/>
              <a:gd name="connsiteY84" fmla="*/ 1499433 h 3309938"/>
              <a:gd name="connsiteX85" fmla="*/ 1275551 w 2993897"/>
              <a:gd name="connsiteY85" fmla="*/ 1490238 h 3309938"/>
              <a:gd name="connsiteX86" fmla="*/ 1276317 w 2993897"/>
              <a:gd name="connsiteY86" fmla="*/ 1481810 h 3309938"/>
              <a:gd name="connsiteX87" fmla="*/ 1277083 w 2993897"/>
              <a:gd name="connsiteY87" fmla="*/ 1473382 h 3309938"/>
              <a:gd name="connsiteX88" fmla="*/ 1277850 w 2993897"/>
              <a:gd name="connsiteY88" fmla="*/ 1464954 h 3309938"/>
              <a:gd name="connsiteX89" fmla="*/ 1278616 w 2993897"/>
              <a:gd name="connsiteY89" fmla="*/ 1456526 h 3309938"/>
              <a:gd name="connsiteX90" fmla="*/ 1278616 w 2993897"/>
              <a:gd name="connsiteY90" fmla="*/ 1447332 h 3309938"/>
              <a:gd name="connsiteX91" fmla="*/ 1279383 w 2993897"/>
              <a:gd name="connsiteY91" fmla="*/ 1438904 h 3309938"/>
              <a:gd name="connsiteX92" fmla="*/ 1279383 w 2993897"/>
              <a:gd name="connsiteY92" fmla="*/ 1430476 h 3309938"/>
              <a:gd name="connsiteX93" fmla="*/ 1279383 w 2993897"/>
              <a:gd name="connsiteY93" fmla="*/ 1421281 h 3309938"/>
              <a:gd name="connsiteX94" fmla="*/ 1279383 w 2993897"/>
              <a:gd name="connsiteY94" fmla="*/ 1412853 h 3309938"/>
              <a:gd name="connsiteX95" fmla="*/ 1278616 w 2993897"/>
              <a:gd name="connsiteY95" fmla="*/ 1404425 h 3309938"/>
              <a:gd name="connsiteX96" fmla="*/ 1278616 w 2993897"/>
              <a:gd name="connsiteY96" fmla="*/ 1395231 h 3309938"/>
              <a:gd name="connsiteX97" fmla="*/ 1277850 w 2993897"/>
              <a:gd name="connsiteY97" fmla="*/ 1386803 h 3309938"/>
              <a:gd name="connsiteX98" fmla="*/ 1277083 w 2993897"/>
              <a:gd name="connsiteY98" fmla="*/ 1377609 h 3309938"/>
              <a:gd name="connsiteX99" fmla="*/ 1276317 w 2993897"/>
              <a:gd name="connsiteY99" fmla="*/ 1369181 h 3309938"/>
              <a:gd name="connsiteX100" fmla="*/ 1275551 w 2993897"/>
              <a:gd name="connsiteY100" fmla="*/ 1360752 h 3309938"/>
              <a:gd name="connsiteX101" fmla="*/ 1274018 w 2993897"/>
              <a:gd name="connsiteY101" fmla="*/ 1351558 h 3309938"/>
              <a:gd name="connsiteX102" fmla="*/ 1272485 w 2993897"/>
              <a:gd name="connsiteY102" fmla="*/ 1343130 h 3309938"/>
              <a:gd name="connsiteX103" fmla="*/ 1271718 w 2993897"/>
              <a:gd name="connsiteY103" fmla="*/ 1333936 h 3309938"/>
              <a:gd name="connsiteX104" fmla="*/ 1270186 w 2993897"/>
              <a:gd name="connsiteY104" fmla="*/ 1325508 h 3309938"/>
              <a:gd name="connsiteX105" fmla="*/ 1267886 w 2993897"/>
              <a:gd name="connsiteY105" fmla="*/ 1316313 h 3309938"/>
              <a:gd name="connsiteX106" fmla="*/ 1266353 w 2993897"/>
              <a:gd name="connsiteY106" fmla="*/ 1307885 h 3309938"/>
              <a:gd name="connsiteX107" fmla="*/ 1264054 w 2993897"/>
              <a:gd name="connsiteY107" fmla="*/ 1299457 h 3309938"/>
              <a:gd name="connsiteX108" fmla="*/ 1261755 w 2993897"/>
              <a:gd name="connsiteY108" fmla="*/ 1290263 h 3309938"/>
              <a:gd name="connsiteX109" fmla="*/ 1259455 w 2993897"/>
              <a:gd name="connsiteY109" fmla="*/ 1281835 h 3309938"/>
              <a:gd name="connsiteX110" fmla="*/ 1257156 w 2993897"/>
              <a:gd name="connsiteY110" fmla="*/ 1273407 h 3309938"/>
              <a:gd name="connsiteX111" fmla="*/ 1257156 w 2993897"/>
              <a:gd name="connsiteY111" fmla="*/ 1272641 h 3309938"/>
              <a:gd name="connsiteX112" fmla="*/ 1254857 w 2993897"/>
              <a:gd name="connsiteY112" fmla="*/ 1264213 h 3309938"/>
              <a:gd name="connsiteX113" fmla="*/ 1251791 w 2993897"/>
              <a:gd name="connsiteY113" fmla="*/ 1255785 h 3309938"/>
              <a:gd name="connsiteX114" fmla="*/ 1250258 w 2993897"/>
              <a:gd name="connsiteY114" fmla="*/ 1251954 h 3309938"/>
              <a:gd name="connsiteX115" fmla="*/ 1241827 w 2993897"/>
              <a:gd name="connsiteY115" fmla="*/ 1227436 h 3309938"/>
              <a:gd name="connsiteX116" fmla="*/ 837150 w 2993897"/>
              <a:gd name="connsiteY116" fmla="*/ 891078 h 3309938"/>
              <a:gd name="connsiteX117" fmla="*/ 820288 w 2993897"/>
              <a:gd name="connsiteY117" fmla="*/ 888014 h 3309938"/>
              <a:gd name="connsiteX118" fmla="*/ 411012 w 2993897"/>
              <a:gd name="connsiteY118" fmla="*/ 539397 h 3309938"/>
              <a:gd name="connsiteX119" fmla="*/ 498386 w 2993897"/>
              <a:gd name="connsiteY119" fmla="*/ 12259 h 3309938"/>
              <a:gd name="connsiteX120" fmla="*/ 509116 w 2993897"/>
              <a:gd name="connsiteY120" fmla="*/ 0 h 3309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993897" h="3309938">
                <a:moveTo>
                  <a:pt x="509116" y="0"/>
                </a:moveTo>
                <a:cubicBezTo>
                  <a:pt x="509116" y="0"/>
                  <a:pt x="509116" y="0"/>
                  <a:pt x="2993897" y="0"/>
                </a:cubicBezTo>
                <a:cubicBezTo>
                  <a:pt x="2993897" y="0"/>
                  <a:pt x="2993897" y="0"/>
                  <a:pt x="2993897" y="2783566"/>
                </a:cubicBezTo>
                <a:cubicBezTo>
                  <a:pt x="2961707" y="2740659"/>
                  <a:pt x="2935648" y="2693156"/>
                  <a:pt x="2916487" y="2641055"/>
                </a:cubicBezTo>
                <a:cubicBezTo>
                  <a:pt x="2848274" y="2454105"/>
                  <a:pt x="2688856" y="2326917"/>
                  <a:pt x="2507211" y="2292439"/>
                </a:cubicBezTo>
                <a:cubicBezTo>
                  <a:pt x="2507211" y="2291672"/>
                  <a:pt x="2507211" y="2291672"/>
                  <a:pt x="2506444" y="2291672"/>
                </a:cubicBezTo>
                <a:cubicBezTo>
                  <a:pt x="2501080" y="2290906"/>
                  <a:pt x="2495714" y="2290140"/>
                  <a:pt x="2491116" y="2289374"/>
                </a:cubicBezTo>
                <a:cubicBezTo>
                  <a:pt x="2490350" y="2289374"/>
                  <a:pt x="2490350" y="2289374"/>
                  <a:pt x="2490350" y="2289374"/>
                </a:cubicBezTo>
                <a:cubicBezTo>
                  <a:pt x="2484984" y="2287842"/>
                  <a:pt x="2479619" y="2287075"/>
                  <a:pt x="2473488" y="2286309"/>
                </a:cubicBezTo>
                <a:cubicBezTo>
                  <a:pt x="2473488" y="2286309"/>
                  <a:pt x="2473488" y="2286309"/>
                  <a:pt x="2472722" y="2286309"/>
                </a:cubicBezTo>
                <a:cubicBezTo>
                  <a:pt x="2468123" y="2286309"/>
                  <a:pt x="2462758" y="2285543"/>
                  <a:pt x="2458159" y="2284777"/>
                </a:cubicBezTo>
                <a:cubicBezTo>
                  <a:pt x="2457393" y="2284777"/>
                  <a:pt x="2455860" y="2284777"/>
                  <a:pt x="2455094" y="2284777"/>
                </a:cubicBezTo>
                <a:cubicBezTo>
                  <a:pt x="2450495" y="2284011"/>
                  <a:pt x="2445896" y="2284011"/>
                  <a:pt x="2441298" y="2283244"/>
                </a:cubicBezTo>
                <a:cubicBezTo>
                  <a:pt x="2440531" y="2283244"/>
                  <a:pt x="2439765" y="2283244"/>
                  <a:pt x="2438998" y="2283244"/>
                </a:cubicBezTo>
                <a:cubicBezTo>
                  <a:pt x="2428268" y="2282478"/>
                  <a:pt x="2417538" y="2282478"/>
                  <a:pt x="2406042" y="2282478"/>
                </a:cubicBezTo>
                <a:cubicBezTo>
                  <a:pt x="2406042" y="2282478"/>
                  <a:pt x="2405275" y="2282478"/>
                  <a:pt x="2404509" y="2282478"/>
                </a:cubicBezTo>
                <a:cubicBezTo>
                  <a:pt x="2399910" y="2282478"/>
                  <a:pt x="2395312" y="2282478"/>
                  <a:pt x="2390713" y="2282478"/>
                </a:cubicBezTo>
                <a:cubicBezTo>
                  <a:pt x="2389180" y="2282478"/>
                  <a:pt x="2387647" y="2282478"/>
                  <a:pt x="2386114" y="2282478"/>
                </a:cubicBezTo>
                <a:cubicBezTo>
                  <a:pt x="2382282" y="2282478"/>
                  <a:pt x="2378450" y="2282478"/>
                  <a:pt x="2374618" y="2283244"/>
                </a:cubicBezTo>
                <a:cubicBezTo>
                  <a:pt x="2373085" y="2283244"/>
                  <a:pt x="2371552" y="2283244"/>
                  <a:pt x="2369253" y="2283244"/>
                </a:cubicBezTo>
                <a:cubicBezTo>
                  <a:pt x="2366187" y="2283244"/>
                  <a:pt x="2362355" y="2284011"/>
                  <a:pt x="2358522" y="2284011"/>
                </a:cubicBezTo>
                <a:cubicBezTo>
                  <a:pt x="2356990" y="2284011"/>
                  <a:pt x="2355457" y="2284011"/>
                  <a:pt x="2353158" y="2284777"/>
                </a:cubicBezTo>
                <a:cubicBezTo>
                  <a:pt x="2348559" y="2284777"/>
                  <a:pt x="2343194" y="2285543"/>
                  <a:pt x="2338595" y="2286309"/>
                </a:cubicBezTo>
                <a:cubicBezTo>
                  <a:pt x="2336296" y="2286309"/>
                  <a:pt x="2334763" y="2286309"/>
                  <a:pt x="2332464" y="2287075"/>
                </a:cubicBezTo>
                <a:cubicBezTo>
                  <a:pt x="2329398" y="2287075"/>
                  <a:pt x="2326332" y="2287842"/>
                  <a:pt x="2322500" y="2288608"/>
                </a:cubicBezTo>
                <a:cubicBezTo>
                  <a:pt x="2320201" y="2288608"/>
                  <a:pt x="2317902" y="2289374"/>
                  <a:pt x="2315602" y="2289374"/>
                </a:cubicBezTo>
                <a:cubicBezTo>
                  <a:pt x="2312536" y="2290140"/>
                  <a:pt x="2310237" y="2290140"/>
                  <a:pt x="2307172" y="2290906"/>
                </a:cubicBezTo>
                <a:cubicBezTo>
                  <a:pt x="2304872" y="2291672"/>
                  <a:pt x="2302573" y="2291672"/>
                  <a:pt x="2299507" y="2292439"/>
                </a:cubicBezTo>
                <a:cubicBezTo>
                  <a:pt x="2296442" y="2293205"/>
                  <a:pt x="2293376" y="2293971"/>
                  <a:pt x="2290310" y="2293971"/>
                </a:cubicBezTo>
                <a:cubicBezTo>
                  <a:pt x="2288777" y="2294737"/>
                  <a:pt x="2286478" y="2295503"/>
                  <a:pt x="2284178" y="2295503"/>
                </a:cubicBezTo>
                <a:cubicBezTo>
                  <a:pt x="2279580" y="2297036"/>
                  <a:pt x="2274215" y="2297802"/>
                  <a:pt x="2268850" y="2299334"/>
                </a:cubicBezTo>
                <a:cubicBezTo>
                  <a:pt x="2263485" y="2300867"/>
                  <a:pt x="2258120" y="2302399"/>
                  <a:pt x="2252755" y="2303932"/>
                </a:cubicBezTo>
                <a:cubicBezTo>
                  <a:pt x="2251988" y="2303932"/>
                  <a:pt x="2251222" y="2303932"/>
                  <a:pt x="2251222" y="2303932"/>
                </a:cubicBezTo>
                <a:cubicBezTo>
                  <a:pt x="2239725" y="2307762"/>
                  <a:pt x="2228995" y="2310827"/>
                  <a:pt x="2217499" y="2315424"/>
                </a:cubicBezTo>
                <a:cubicBezTo>
                  <a:pt x="2206768" y="2319255"/>
                  <a:pt x="2195272" y="2323852"/>
                  <a:pt x="2184542" y="2328450"/>
                </a:cubicBezTo>
                <a:cubicBezTo>
                  <a:pt x="2108665" y="2362162"/>
                  <a:pt x="2043518" y="2410432"/>
                  <a:pt x="1992167" y="2470195"/>
                </a:cubicBezTo>
                <a:cubicBezTo>
                  <a:pt x="1988335" y="2474792"/>
                  <a:pt x="1984502" y="2479389"/>
                  <a:pt x="1981437" y="2483220"/>
                </a:cubicBezTo>
                <a:cubicBezTo>
                  <a:pt x="1864172" y="2627263"/>
                  <a:pt x="1824318" y="2827239"/>
                  <a:pt x="1891764" y="3013423"/>
                </a:cubicBezTo>
                <a:cubicBezTo>
                  <a:pt x="1927786" y="3112261"/>
                  <a:pt x="1933918" y="3214164"/>
                  <a:pt x="1913991" y="3309938"/>
                </a:cubicBezTo>
                <a:cubicBezTo>
                  <a:pt x="1913991" y="3309938"/>
                  <a:pt x="1913991" y="3309938"/>
                  <a:pt x="663169" y="3309938"/>
                </a:cubicBezTo>
                <a:cubicBezTo>
                  <a:pt x="539773" y="3206503"/>
                  <a:pt x="438604" y="3121456"/>
                  <a:pt x="201776" y="2922246"/>
                </a:cubicBezTo>
                <a:cubicBezTo>
                  <a:pt x="127431" y="2862484"/>
                  <a:pt x="67649" y="2782034"/>
                  <a:pt x="33160" y="2685494"/>
                </a:cubicBezTo>
                <a:cubicBezTo>
                  <a:pt x="-35053" y="2499310"/>
                  <a:pt x="5568" y="2299334"/>
                  <a:pt x="122066" y="2156057"/>
                </a:cubicBezTo>
                <a:cubicBezTo>
                  <a:pt x="125899" y="2151460"/>
                  <a:pt x="129731" y="2146863"/>
                  <a:pt x="132796" y="2142266"/>
                </a:cubicBezTo>
                <a:cubicBezTo>
                  <a:pt x="191812" y="2074841"/>
                  <a:pt x="268455" y="2020442"/>
                  <a:pt x="358895" y="1987495"/>
                </a:cubicBezTo>
                <a:cubicBezTo>
                  <a:pt x="448568" y="1954549"/>
                  <a:pt x="542073" y="1946887"/>
                  <a:pt x="630979" y="1961445"/>
                </a:cubicBezTo>
                <a:cubicBezTo>
                  <a:pt x="636344" y="1962211"/>
                  <a:pt x="642476" y="1963743"/>
                  <a:pt x="647841" y="1964510"/>
                </a:cubicBezTo>
                <a:cubicBezTo>
                  <a:pt x="736747" y="1978301"/>
                  <a:pt x="830252" y="1971405"/>
                  <a:pt x="920691" y="1938459"/>
                </a:cubicBezTo>
                <a:cubicBezTo>
                  <a:pt x="1011131" y="1905513"/>
                  <a:pt x="1087774" y="1851114"/>
                  <a:pt x="1146023" y="1782923"/>
                </a:cubicBezTo>
                <a:cubicBezTo>
                  <a:pt x="1149855" y="1779092"/>
                  <a:pt x="1153687" y="1774495"/>
                  <a:pt x="1157520" y="1769898"/>
                </a:cubicBezTo>
                <a:cubicBezTo>
                  <a:pt x="1157520" y="1769131"/>
                  <a:pt x="1158286" y="1768365"/>
                  <a:pt x="1159052" y="1767599"/>
                </a:cubicBezTo>
                <a:cubicBezTo>
                  <a:pt x="1162118" y="1763768"/>
                  <a:pt x="1165184" y="1759937"/>
                  <a:pt x="1167483" y="1756106"/>
                </a:cubicBezTo>
                <a:cubicBezTo>
                  <a:pt x="1169016" y="1754574"/>
                  <a:pt x="1170549" y="1753041"/>
                  <a:pt x="1172082" y="1751509"/>
                </a:cubicBezTo>
                <a:cubicBezTo>
                  <a:pt x="1173615" y="1748444"/>
                  <a:pt x="1175914" y="1745380"/>
                  <a:pt x="1178213" y="1742315"/>
                </a:cubicBezTo>
                <a:cubicBezTo>
                  <a:pt x="1179746" y="1740782"/>
                  <a:pt x="1180513" y="1738484"/>
                  <a:pt x="1182046" y="1736951"/>
                </a:cubicBezTo>
                <a:cubicBezTo>
                  <a:pt x="1184345" y="1733887"/>
                  <a:pt x="1185878" y="1731588"/>
                  <a:pt x="1187411" y="1728523"/>
                </a:cubicBezTo>
                <a:cubicBezTo>
                  <a:pt x="1188943" y="1726225"/>
                  <a:pt x="1190476" y="1723926"/>
                  <a:pt x="1192009" y="1722394"/>
                </a:cubicBezTo>
                <a:cubicBezTo>
                  <a:pt x="1193542" y="1719329"/>
                  <a:pt x="1195075" y="1717031"/>
                  <a:pt x="1196608" y="1713966"/>
                </a:cubicBezTo>
                <a:cubicBezTo>
                  <a:pt x="1198141" y="1711667"/>
                  <a:pt x="1199674" y="1710135"/>
                  <a:pt x="1201206" y="1707836"/>
                </a:cubicBezTo>
                <a:cubicBezTo>
                  <a:pt x="1202739" y="1704771"/>
                  <a:pt x="1204272" y="1702473"/>
                  <a:pt x="1205805" y="1699408"/>
                </a:cubicBezTo>
                <a:cubicBezTo>
                  <a:pt x="1207338" y="1697110"/>
                  <a:pt x="1208104" y="1694811"/>
                  <a:pt x="1209637" y="1692512"/>
                </a:cubicBezTo>
                <a:cubicBezTo>
                  <a:pt x="1211170" y="1690214"/>
                  <a:pt x="1212703" y="1687149"/>
                  <a:pt x="1214236" y="1684851"/>
                </a:cubicBezTo>
                <a:cubicBezTo>
                  <a:pt x="1215002" y="1682552"/>
                  <a:pt x="1216535" y="1680253"/>
                  <a:pt x="1217302" y="1677955"/>
                </a:cubicBezTo>
                <a:cubicBezTo>
                  <a:pt x="1218834" y="1674890"/>
                  <a:pt x="1220367" y="1672592"/>
                  <a:pt x="1221900" y="1669527"/>
                </a:cubicBezTo>
                <a:cubicBezTo>
                  <a:pt x="1222667" y="1667228"/>
                  <a:pt x="1224199" y="1664930"/>
                  <a:pt x="1224966" y="1662631"/>
                </a:cubicBezTo>
                <a:cubicBezTo>
                  <a:pt x="1226499" y="1659566"/>
                  <a:pt x="1228032" y="1657268"/>
                  <a:pt x="1228798" y="1654203"/>
                </a:cubicBezTo>
                <a:cubicBezTo>
                  <a:pt x="1230331" y="1651904"/>
                  <a:pt x="1231097" y="1649606"/>
                  <a:pt x="1232630" y="1646541"/>
                </a:cubicBezTo>
                <a:cubicBezTo>
                  <a:pt x="1233397" y="1644243"/>
                  <a:pt x="1234930" y="1641178"/>
                  <a:pt x="1235696" y="1638879"/>
                </a:cubicBezTo>
                <a:cubicBezTo>
                  <a:pt x="1237229" y="1635814"/>
                  <a:pt x="1237995" y="1633516"/>
                  <a:pt x="1239528" y="1631217"/>
                </a:cubicBezTo>
                <a:cubicBezTo>
                  <a:pt x="1240295" y="1628153"/>
                  <a:pt x="1241061" y="1625854"/>
                  <a:pt x="1242594" y="1622789"/>
                </a:cubicBezTo>
                <a:cubicBezTo>
                  <a:pt x="1243360" y="1620491"/>
                  <a:pt x="1244127" y="1617426"/>
                  <a:pt x="1245660" y="1615127"/>
                </a:cubicBezTo>
                <a:cubicBezTo>
                  <a:pt x="1246426" y="1612063"/>
                  <a:pt x="1247192" y="1609764"/>
                  <a:pt x="1248725" y="1606699"/>
                </a:cubicBezTo>
                <a:cubicBezTo>
                  <a:pt x="1249492" y="1604401"/>
                  <a:pt x="1250258" y="1601336"/>
                  <a:pt x="1251025" y="1599037"/>
                </a:cubicBezTo>
                <a:cubicBezTo>
                  <a:pt x="1251791" y="1595973"/>
                  <a:pt x="1252558" y="1593674"/>
                  <a:pt x="1254090" y="1590609"/>
                </a:cubicBezTo>
                <a:cubicBezTo>
                  <a:pt x="1254857" y="1588311"/>
                  <a:pt x="1255623" y="1585246"/>
                  <a:pt x="1256390" y="1582947"/>
                </a:cubicBezTo>
                <a:cubicBezTo>
                  <a:pt x="1257156" y="1579883"/>
                  <a:pt x="1257923" y="1576818"/>
                  <a:pt x="1258689" y="1574519"/>
                </a:cubicBezTo>
                <a:cubicBezTo>
                  <a:pt x="1259455" y="1571455"/>
                  <a:pt x="1260222" y="1569156"/>
                  <a:pt x="1260988" y="1566091"/>
                </a:cubicBezTo>
                <a:cubicBezTo>
                  <a:pt x="1261755" y="1563793"/>
                  <a:pt x="1262521" y="1560728"/>
                  <a:pt x="1263288" y="1557663"/>
                </a:cubicBezTo>
                <a:cubicBezTo>
                  <a:pt x="1264054" y="1555365"/>
                  <a:pt x="1264054" y="1552300"/>
                  <a:pt x="1264820" y="1550001"/>
                </a:cubicBezTo>
                <a:cubicBezTo>
                  <a:pt x="1265587" y="1546936"/>
                  <a:pt x="1266353" y="1543872"/>
                  <a:pt x="1267120" y="1541573"/>
                </a:cubicBezTo>
                <a:cubicBezTo>
                  <a:pt x="1267886" y="1538508"/>
                  <a:pt x="1267886" y="1535444"/>
                  <a:pt x="1268653" y="1533145"/>
                </a:cubicBezTo>
                <a:cubicBezTo>
                  <a:pt x="1269419" y="1530080"/>
                  <a:pt x="1269419" y="1527016"/>
                  <a:pt x="1270186" y="1524717"/>
                </a:cubicBezTo>
                <a:cubicBezTo>
                  <a:pt x="1270952" y="1521652"/>
                  <a:pt x="1270952" y="1518587"/>
                  <a:pt x="1271718" y="1516289"/>
                </a:cubicBezTo>
                <a:cubicBezTo>
                  <a:pt x="1272485" y="1513224"/>
                  <a:pt x="1272485" y="1510159"/>
                  <a:pt x="1273251" y="1507861"/>
                </a:cubicBezTo>
                <a:cubicBezTo>
                  <a:pt x="1273251" y="1504796"/>
                  <a:pt x="1274018" y="1501731"/>
                  <a:pt x="1274018" y="1499433"/>
                </a:cubicBezTo>
                <a:cubicBezTo>
                  <a:pt x="1274784" y="1496368"/>
                  <a:pt x="1274784" y="1493303"/>
                  <a:pt x="1275551" y="1490238"/>
                </a:cubicBezTo>
                <a:cubicBezTo>
                  <a:pt x="1275551" y="1487940"/>
                  <a:pt x="1276317" y="1484875"/>
                  <a:pt x="1276317" y="1481810"/>
                </a:cubicBezTo>
                <a:cubicBezTo>
                  <a:pt x="1277083" y="1479512"/>
                  <a:pt x="1277083" y="1476447"/>
                  <a:pt x="1277083" y="1473382"/>
                </a:cubicBezTo>
                <a:cubicBezTo>
                  <a:pt x="1277850" y="1470318"/>
                  <a:pt x="1277850" y="1468019"/>
                  <a:pt x="1277850" y="1464954"/>
                </a:cubicBezTo>
                <a:cubicBezTo>
                  <a:pt x="1277850" y="1461889"/>
                  <a:pt x="1278616" y="1458825"/>
                  <a:pt x="1278616" y="1456526"/>
                </a:cubicBezTo>
                <a:cubicBezTo>
                  <a:pt x="1278616" y="1453461"/>
                  <a:pt x="1278616" y="1450397"/>
                  <a:pt x="1278616" y="1447332"/>
                </a:cubicBezTo>
                <a:cubicBezTo>
                  <a:pt x="1278616" y="1445033"/>
                  <a:pt x="1279383" y="1441969"/>
                  <a:pt x="1279383" y="1438904"/>
                </a:cubicBezTo>
                <a:cubicBezTo>
                  <a:pt x="1279383" y="1435839"/>
                  <a:pt x="1279383" y="1432774"/>
                  <a:pt x="1279383" y="1430476"/>
                </a:cubicBezTo>
                <a:cubicBezTo>
                  <a:pt x="1279383" y="1427411"/>
                  <a:pt x="1279383" y="1424346"/>
                  <a:pt x="1279383" y="1421281"/>
                </a:cubicBezTo>
                <a:cubicBezTo>
                  <a:pt x="1279383" y="1418983"/>
                  <a:pt x="1279383" y="1415918"/>
                  <a:pt x="1279383" y="1412853"/>
                </a:cubicBezTo>
                <a:cubicBezTo>
                  <a:pt x="1279383" y="1409789"/>
                  <a:pt x="1278616" y="1406724"/>
                  <a:pt x="1278616" y="1404425"/>
                </a:cubicBezTo>
                <a:cubicBezTo>
                  <a:pt x="1278616" y="1401361"/>
                  <a:pt x="1278616" y="1398296"/>
                  <a:pt x="1278616" y="1395231"/>
                </a:cubicBezTo>
                <a:cubicBezTo>
                  <a:pt x="1278616" y="1392166"/>
                  <a:pt x="1277850" y="1389868"/>
                  <a:pt x="1277850" y="1386803"/>
                </a:cubicBezTo>
                <a:cubicBezTo>
                  <a:pt x="1277850" y="1383738"/>
                  <a:pt x="1277083" y="1380673"/>
                  <a:pt x="1277083" y="1377609"/>
                </a:cubicBezTo>
                <a:cubicBezTo>
                  <a:pt x="1277083" y="1375310"/>
                  <a:pt x="1276317" y="1372245"/>
                  <a:pt x="1276317" y="1369181"/>
                </a:cubicBezTo>
                <a:cubicBezTo>
                  <a:pt x="1276317" y="1366116"/>
                  <a:pt x="1275551" y="1363051"/>
                  <a:pt x="1275551" y="1360752"/>
                </a:cubicBezTo>
                <a:cubicBezTo>
                  <a:pt x="1274784" y="1357688"/>
                  <a:pt x="1274784" y="1354623"/>
                  <a:pt x="1274018" y="1351558"/>
                </a:cubicBezTo>
                <a:cubicBezTo>
                  <a:pt x="1274018" y="1348493"/>
                  <a:pt x="1273251" y="1346195"/>
                  <a:pt x="1272485" y="1343130"/>
                </a:cubicBezTo>
                <a:cubicBezTo>
                  <a:pt x="1272485" y="1340065"/>
                  <a:pt x="1271718" y="1337001"/>
                  <a:pt x="1271718" y="1333936"/>
                </a:cubicBezTo>
                <a:cubicBezTo>
                  <a:pt x="1270952" y="1331637"/>
                  <a:pt x="1270186" y="1328573"/>
                  <a:pt x="1270186" y="1325508"/>
                </a:cubicBezTo>
                <a:cubicBezTo>
                  <a:pt x="1269419" y="1322443"/>
                  <a:pt x="1268653" y="1319378"/>
                  <a:pt x="1267886" y="1316313"/>
                </a:cubicBezTo>
                <a:cubicBezTo>
                  <a:pt x="1267120" y="1314015"/>
                  <a:pt x="1267120" y="1310950"/>
                  <a:pt x="1266353" y="1307885"/>
                </a:cubicBezTo>
                <a:cubicBezTo>
                  <a:pt x="1265587" y="1304821"/>
                  <a:pt x="1264820" y="1301756"/>
                  <a:pt x="1264054" y="1299457"/>
                </a:cubicBezTo>
                <a:cubicBezTo>
                  <a:pt x="1263288" y="1296393"/>
                  <a:pt x="1262521" y="1293328"/>
                  <a:pt x="1261755" y="1290263"/>
                </a:cubicBezTo>
                <a:cubicBezTo>
                  <a:pt x="1260988" y="1287964"/>
                  <a:pt x="1260222" y="1284900"/>
                  <a:pt x="1259455" y="1281835"/>
                </a:cubicBezTo>
                <a:cubicBezTo>
                  <a:pt x="1258689" y="1278770"/>
                  <a:pt x="1257923" y="1275705"/>
                  <a:pt x="1257156" y="1273407"/>
                </a:cubicBezTo>
                <a:cubicBezTo>
                  <a:pt x="1257156" y="1273407"/>
                  <a:pt x="1257156" y="1273407"/>
                  <a:pt x="1257156" y="1272641"/>
                </a:cubicBezTo>
                <a:cubicBezTo>
                  <a:pt x="1256390" y="1270342"/>
                  <a:pt x="1255623" y="1267277"/>
                  <a:pt x="1254857" y="1264213"/>
                </a:cubicBezTo>
                <a:cubicBezTo>
                  <a:pt x="1253324" y="1261148"/>
                  <a:pt x="1252558" y="1258849"/>
                  <a:pt x="1251791" y="1255785"/>
                </a:cubicBezTo>
                <a:cubicBezTo>
                  <a:pt x="1251025" y="1254252"/>
                  <a:pt x="1251025" y="1253486"/>
                  <a:pt x="1250258" y="1251954"/>
                </a:cubicBezTo>
                <a:cubicBezTo>
                  <a:pt x="1247192" y="1243526"/>
                  <a:pt x="1244127" y="1235864"/>
                  <a:pt x="1241827" y="1227436"/>
                </a:cubicBezTo>
                <a:cubicBezTo>
                  <a:pt x="1171315" y="1047381"/>
                  <a:pt x="1014963" y="925557"/>
                  <a:pt x="837150" y="891078"/>
                </a:cubicBezTo>
                <a:cubicBezTo>
                  <a:pt x="831785" y="890312"/>
                  <a:pt x="826420" y="888780"/>
                  <a:pt x="820288" y="888014"/>
                </a:cubicBezTo>
                <a:cubicBezTo>
                  <a:pt x="638643" y="852769"/>
                  <a:pt x="479225" y="726348"/>
                  <a:pt x="411012" y="539397"/>
                </a:cubicBezTo>
                <a:cubicBezTo>
                  <a:pt x="343566" y="353980"/>
                  <a:pt x="383421" y="155537"/>
                  <a:pt x="498386" y="12259"/>
                </a:cubicBezTo>
                <a:cubicBezTo>
                  <a:pt x="502218" y="7662"/>
                  <a:pt x="505284" y="3831"/>
                  <a:pt x="509116" y="0"/>
                </a:cubicBezTo>
                <a:close/>
              </a:path>
            </a:pathLst>
          </a:custGeom>
        </p:spPr>
        <p:txBody>
          <a:bodyPr wrap="square" tIns="50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69361217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D6B3271-A914-8A1F-BE14-9656DCD9022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4559" y="0"/>
            <a:ext cx="5767441" cy="6858000"/>
          </a:xfrm>
          <a:custGeom>
            <a:avLst/>
            <a:gdLst>
              <a:gd name="connsiteX0" fmla="*/ 472364 w 2560637"/>
              <a:gd name="connsiteY0" fmla="*/ 0 h 3044825"/>
              <a:gd name="connsiteX1" fmla="*/ 1500285 w 2560637"/>
              <a:gd name="connsiteY1" fmla="*/ 0 h 3044825"/>
              <a:gd name="connsiteX2" fmla="*/ 1507335 w 2560637"/>
              <a:gd name="connsiteY2" fmla="*/ 74006 h 3044825"/>
              <a:gd name="connsiteX3" fmla="*/ 1507335 w 2560637"/>
              <a:gd name="connsiteY3" fmla="*/ 89512 h 3044825"/>
              <a:gd name="connsiteX4" fmla="*/ 1574312 w 2560637"/>
              <a:gd name="connsiteY4" fmla="*/ 332675 h 3044825"/>
              <a:gd name="connsiteX5" fmla="*/ 1751273 w 2560637"/>
              <a:gd name="connsiteY5" fmla="*/ 512405 h 3044825"/>
              <a:gd name="connsiteX6" fmla="*/ 1765373 w 2560637"/>
              <a:gd name="connsiteY6" fmla="*/ 520863 h 3044825"/>
              <a:gd name="connsiteX7" fmla="*/ 2260298 w 2560637"/>
              <a:gd name="connsiteY7" fmla="*/ 516634 h 3044825"/>
              <a:gd name="connsiteX8" fmla="*/ 2261003 w 2560637"/>
              <a:gd name="connsiteY8" fmla="*/ 516634 h 3044825"/>
              <a:gd name="connsiteX9" fmla="*/ 2263118 w 2560637"/>
              <a:gd name="connsiteY9" fmla="*/ 515224 h 3044825"/>
              <a:gd name="connsiteX10" fmla="*/ 2263823 w 2560637"/>
              <a:gd name="connsiteY10" fmla="*/ 515224 h 3044825"/>
              <a:gd name="connsiteX11" fmla="*/ 2263823 w 2560637"/>
              <a:gd name="connsiteY11" fmla="*/ 514519 h 3044825"/>
              <a:gd name="connsiteX12" fmla="*/ 2264528 w 2560637"/>
              <a:gd name="connsiteY12" fmla="*/ 514519 h 3044825"/>
              <a:gd name="connsiteX13" fmla="*/ 2270168 w 2560637"/>
              <a:gd name="connsiteY13" fmla="*/ 510995 h 3044825"/>
              <a:gd name="connsiteX14" fmla="*/ 2273693 w 2560637"/>
              <a:gd name="connsiteY14" fmla="*/ 509585 h 3044825"/>
              <a:gd name="connsiteX15" fmla="*/ 2274399 w 2560637"/>
              <a:gd name="connsiteY15" fmla="*/ 508881 h 3044825"/>
              <a:gd name="connsiteX16" fmla="*/ 2275103 w 2560637"/>
              <a:gd name="connsiteY16" fmla="*/ 508176 h 3044825"/>
              <a:gd name="connsiteX17" fmla="*/ 2277923 w 2560637"/>
              <a:gd name="connsiteY17" fmla="*/ 506766 h 3044825"/>
              <a:gd name="connsiteX18" fmla="*/ 2282154 w 2560637"/>
              <a:gd name="connsiteY18" fmla="*/ 504652 h 3044825"/>
              <a:gd name="connsiteX19" fmla="*/ 2284269 w 2560637"/>
              <a:gd name="connsiteY19" fmla="*/ 503947 h 3044825"/>
              <a:gd name="connsiteX20" fmla="*/ 2286384 w 2560637"/>
              <a:gd name="connsiteY20" fmla="*/ 502537 h 3044825"/>
              <a:gd name="connsiteX21" fmla="*/ 2290614 w 2560637"/>
              <a:gd name="connsiteY21" fmla="*/ 500423 h 3044825"/>
              <a:gd name="connsiteX22" fmla="*/ 2293434 w 2560637"/>
              <a:gd name="connsiteY22" fmla="*/ 499013 h 3044825"/>
              <a:gd name="connsiteX23" fmla="*/ 2296254 w 2560637"/>
              <a:gd name="connsiteY23" fmla="*/ 497604 h 3044825"/>
              <a:gd name="connsiteX24" fmla="*/ 2297664 w 2560637"/>
              <a:gd name="connsiteY24" fmla="*/ 496899 h 3044825"/>
              <a:gd name="connsiteX25" fmla="*/ 2301894 w 2560637"/>
              <a:gd name="connsiteY25" fmla="*/ 495489 h 3044825"/>
              <a:gd name="connsiteX26" fmla="*/ 2304714 w 2560637"/>
              <a:gd name="connsiteY26" fmla="*/ 494079 h 3044825"/>
              <a:gd name="connsiteX27" fmla="*/ 2307535 w 2560637"/>
              <a:gd name="connsiteY27" fmla="*/ 492670 h 3044825"/>
              <a:gd name="connsiteX28" fmla="*/ 2309649 w 2560637"/>
              <a:gd name="connsiteY28" fmla="*/ 491965 h 3044825"/>
              <a:gd name="connsiteX29" fmla="*/ 2313175 w 2560637"/>
              <a:gd name="connsiteY29" fmla="*/ 490555 h 3044825"/>
              <a:gd name="connsiteX30" fmla="*/ 2319520 w 2560637"/>
              <a:gd name="connsiteY30" fmla="*/ 487736 h 3044825"/>
              <a:gd name="connsiteX31" fmla="*/ 2323750 w 2560637"/>
              <a:gd name="connsiteY31" fmla="*/ 485621 h 3044825"/>
              <a:gd name="connsiteX32" fmla="*/ 2330800 w 2560637"/>
              <a:gd name="connsiteY32" fmla="*/ 482802 h 3044825"/>
              <a:gd name="connsiteX33" fmla="*/ 2334325 w 2560637"/>
              <a:gd name="connsiteY33" fmla="*/ 481393 h 3044825"/>
              <a:gd name="connsiteX34" fmla="*/ 2335030 w 2560637"/>
              <a:gd name="connsiteY34" fmla="*/ 481393 h 3044825"/>
              <a:gd name="connsiteX35" fmla="*/ 2337850 w 2560637"/>
              <a:gd name="connsiteY35" fmla="*/ 479983 h 3044825"/>
              <a:gd name="connsiteX36" fmla="*/ 2342785 w 2560637"/>
              <a:gd name="connsiteY36" fmla="*/ 478573 h 3044825"/>
              <a:gd name="connsiteX37" fmla="*/ 2344195 w 2560637"/>
              <a:gd name="connsiteY37" fmla="*/ 477868 h 3044825"/>
              <a:gd name="connsiteX38" fmla="*/ 2368166 w 2560637"/>
              <a:gd name="connsiteY38" fmla="*/ 470116 h 3044825"/>
              <a:gd name="connsiteX39" fmla="*/ 2370986 w 2560637"/>
              <a:gd name="connsiteY39" fmla="*/ 469411 h 3044825"/>
              <a:gd name="connsiteX40" fmla="*/ 2375921 w 2560637"/>
              <a:gd name="connsiteY40" fmla="*/ 468001 h 3044825"/>
              <a:gd name="connsiteX41" fmla="*/ 2384382 w 2560637"/>
              <a:gd name="connsiteY41" fmla="*/ 465886 h 3044825"/>
              <a:gd name="connsiteX42" fmla="*/ 2386497 w 2560637"/>
              <a:gd name="connsiteY42" fmla="*/ 465182 h 3044825"/>
              <a:gd name="connsiteX43" fmla="*/ 2387907 w 2560637"/>
              <a:gd name="connsiteY43" fmla="*/ 464477 h 3044825"/>
              <a:gd name="connsiteX44" fmla="*/ 2395662 w 2560637"/>
              <a:gd name="connsiteY44" fmla="*/ 463067 h 3044825"/>
              <a:gd name="connsiteX45" fmla="*/ 2399187 w 2560637"/>
              <a:gd name="connsiteY45" fmla="*/ 461658 h 3044825"/>
              <a:gd name="connsiteX46" fmla="*/ 2402007 w 2560637"/>
              <a:gd name="connsiteY46" fmla="*/ 460953 h 3044825"/>
              <a:gd name="connsiteX47" fmla="*/ 2402712 w 2560637"/>
              <a:gd name="connsiteY47" fmla="*/ 460953 h 3044825"/>
              <a:gd name="connsiteX48" fmla="*/ 2406943 w 2560637"/>
              <a:gd name="connsiteY48" fmla="*/ 460248 h 3044825"/>
              <a:gd name="connsiteX49" fmla="*/ 2411173 w 2560637"/>
              <a:gd name="connsiteY49" fmla="*/ 459543 h 3044825"/>
              <a:gd name="connsiteX50" fmla="*/ 2417518 w 2560637"/>
              <a:gd name="connsiteY50" fmla="*/ 458133 h 3044825"/>
              <a:gd name="connsiteX51" fmla="*/ 2419633 w 2560637"/>
              <a:gd name="connsiteY51" fmla="*/ 457429 h 3044825"/>
              <a:gd name="connsiteX52" fmla="*/ 2422453 w 2560637"/>
              <a:gd name="connsiteY52" fmla="*/ 457429 h 3044825"/>
              <a:gd name="connsiteX53" fmla="*/ 2430208 w 2560637"/>
              <a:gd name="connsiteY53" fmla="*/ 456019 h 3044825"/>
              <a:gd name="connsiteX54" fmla="*/ 2434438 w 2560637"/>
              <a:gd name="connsiteY54" fmla="*/ 455314 h 3044825"/>
              <a:gd name="connsiteX55" fmla="*/ 2435143 w 2560637"/>
              <a:gd name="connsiteY55" fmla="*/ 455314 h 3044825"/>
              <a:gd name="connsiteX56" fmla="*/ 2435848 w 2560637"/>
              <a:gd name="connsiteY56" fmla="*/ 455314 h 3044825"/>
              <a:gd name="connsiteX57" fmla="*/ 2441489 w 2560637"/>
              <a:gd name="connsiteY57" fmla="*/ 453905 h 3044825"/>
              <a:gd name="connsiteX58" fmla="*/ 2445719 w 2560637"/>
              <a:gd name="connsiteY58" fmla="*/ 453905 h 3044825"/>
              <a:gd name="connsiteX59" fmla="*/ 2451359 w 2560637"/>
              <a:gd name="connsiteY59" fmla="*/ 453200 h 3044825"/>
              <a:gd name="connsiteX60" fmla="*/ 2453474 w 2560637"/>
              <a:gd name="connsiteY60" fmla="*/ 452495 h 3044825"/>
              <a:gd name="connsiteX61" fmla="*/ 2457704 w 2560637"/>
              <a:gd name="connsiteY61" fmla="*/ 452495 h 3044825"/>
              <a:gd name="connsiteX62" fmla="*/ 2464754 w 2560637"/>
              <a:gd name="connsiteY62" fmla="*/ 451790 h 3044825"/>
              <a:gd name="connsiteX63" fmla="*/ 2468279 w 2560637"/>
              <a:gd name="connsiteY63" fmla="*/ 451085 h 3044825"/>
              <a:gd name="connsiteX64" fmla="*/ 2470394 w 2560637"/>
              <a:gd name="connsiteY64" fmla="*/ 451085 h 3044825"/>
              <a:gd name="connsiteX65" fmla="*/ 2476739 w 2560637"/>
              <a:gd name="connsiteY65" fmla="*/ 450380 h 3044825"/>
              <a:gd name="connsiteX66" fmla="*/ 2480969 w 2560637"/>
              <a:gd name="connsiteY66" fmla="*/ 450380 h 3044825"/>
              <a:gd name="connsiteX67" fmla="*/ 2488020 w 2560637"/>
              <a:gd name="connsiteY67" fmla="*/ 449676 h 3044825"/>
              <a:gd name="connsiteX68" fmla="*/ 2492955 w 2560637"/>
              <a:gd name="connsiteY68" fmla="*/ 449676 h 3044825"/>
              <a:gd name="connsiteX69" fmla="*/ 2500005 w 2560637"/>
              <a:gd name="connsiteY69" fmla="*/ 449676 h 3044825"/>
              <a:gd name="connsiteX70" fmla="*/ 2502120 w 2560637"/>
              <a:gd name="connsiteY70" fmla="*/ 449676 h 3044825"/>
              <a:gd name="connsiteX71" fmla="*/ 2504940 w 2560637"/>
              <a:gd name="connsiteY71" fmla="*/ 449676 h 3044825"/>
              <a:gd name="connsiteX72" fmla="*/ 2511991 w 2560637"/>
              <a:gd name="connsiteY72" fmla="*/ 449676 h 3044825"/>
              <a:gd name="connsiteX73" fmla="*/ 2515516 w 2560637"/>
              <a:gd name="connsiteY73" fmla="*/ 449676 h 3044825"/>
              <a:gd name="connsiteX74" fmla="*/ 2517631 w 2560637"/>
              <a:gd name="connsiteY74" fmla="*/ 449676 h 3044825"/>
              <a:gd name="connsiteX75" fmla="*/ 2520451 w 2560637"/>
              <a:gd name="connsiteY75" fmla="*/ 449676 h 3044825"/>
              <a:gd name="connsiteX76" fmla="*/ 2523271 w 2560637"/>
              <a:gd name="connsiteY76" fmla="*/ 449676 h 3044825"/>
              <a:gd name="connsiteX77" fmla="*/ 2526091 w 2560637"/>
              <a:gd name="connsiteY77" fmla="*/ 449676 h 3044825"/>
              <a:gd name="connsiteX78" fmla="*/ 2535961 w 2560637"/>
              <a:gd name="connsiteY78" fmla="*/ 449676 h 3044825"/>
              <a:gd name="connsiteX79" fmla="*/ 2537371 w 2560637"/>
              <a:gd name="connsiteY79" fmla="*/ 449676 h 3044825"/>
              <a:gd name="connsiteX80" fmla="*/ 2550767 w 2560637"/>
              <a:gd name="connsiteY80" fmla="*/ 451085 h 3044825"/>
              <a:gd name="connsiteX81" fmla="*/ 2554292 w 2560637"/>
              <a:gd name="connsiteY81" fmla="*/ 451085 h 3044825"/>
              <a:gd name="connsiteX82" fmla="*/ 2554997 w 2560637"/>
              <a:gd name="connsiteY82" fmla="*/ 451085 h 3044825"/>
              <a:gd name="connsiteX83" fmla="*/ 2557817 w 2560637"/>
              <a:gd name="connsiteY83" fmla="*/ 451790 h 3044825"/>
              <a:gd name="connsiteX84" fmla="*/ 2560637 w 2560637"/>
              <a:gd name="connsiteY84" fmla="*/ 451790 h 3044825"/>
              <a:gd name="connsiteX85" fmla="*/ 2560637 w 2560637"/>
              <a:gd name="connsiteY85" fmla="*/ 3044825 h 3044825"/>
              <a:gd name="connsiteX86" fmla="*/ 2134804 w 2560637"/>
              <a:gd name="connsiteY86" fmla="*/ 3044825 h 3044825"/>
              <a:gd name="connsiteX87" fmla="*/ 1593348 w 2560637"/>
              <a:gd name="connsiteY87" fmla="*/ 2323089 h 3044825"/>
              <a:gd name="connsiteX88" fmla="*/ 1014526 w 2560637"/>
              <a:gd name="connsiteY88" fmla="*/ 2323089 h 3044825"/>
              <a:gd name="connsiteX89" fmla="*/ 760718 w 2560637"/>
              <a:gd name="connsiteY89" fmla="*/ 2260360 h 3044825"/>
              <a:gd name="connsiteX90" fmla="*/ 760013 w 2560637"/>
              <a:gd name="connsiteY90" fmla="*/ 2259655 h 3044825"/>
              <a:gd name="connsiteX91" fmla="*/ 758603 w 2560637"/>
              <a:gd name="connsiteY91" fmla="*/ 2258950 h 3044825"/>
              <a:gd name="connsiteX92" fmla="*/ 757193 w 2560637"/>
              <a:gd name="connsiteY92" fmla="*/ 2258245 h 3044825"/>
              <a:gd name="connsiteX93" fmla="*/ 753668 w 2560637"/>
              <a:gd name="connsiteY93" fmla="*/ 2256131 h 3044825"/>
              <a:gd name="connsiteX94" fmla="*/ 751553 w 2560637"/>
              <a:gd name="connsiteY94" fmla="*/ 2254721 h 3044825"/>
              <a:gd name="connsiteX95" fmla="*/ 748733 w 2560637"/>
              <a:gd name="connsiteY95" fmla="*/ 2253312 h 3044825"/>
              <a:gd name="connsiteX96" fmla="*/ 746618 w 2560637"/>
              <a:gd name="connsiteY96" fmla="*/ 2251902 h 3044825"/>
              <a:gd name="connsiteX97" fmla="*/ 745913 w 2560637"/>
              <a:gd name="connsiteY97" fmla="*/ 2251902 h 3044825"/>
              <a:gd name="connsiteX98" fmla="*/ 742388 w 2560637"/>
              <a:gd name="connsiteY98" fmla="*/ 2249787 h 3044825"/>
              <a:gd name="connsiteX99" fmla="*/ 741683 w 2560637"/>
              <a:gd name="connsiteY99" fmla="*/ 2249083 h 3044825"/>
              <a:gd name="connsiteX100" fmla="*/ 569657 w 2560637"/>
              <a:gd name="connsiteY100" fmla="*/ 2072173 h 3044825"/>
              <a:gd name="connsiteX101" fmla="*/ 567542 w 2560637"/>
              <a:gd name="connsiteY101" fmla="*/ 2067944 h 3044825"/>
              <a:gd name="connsiteX102" fmla="*/ 69797 w 2560637"/>
              <a:gd name="connsiteY102" fmla="*/ 1206653 h 3044825"/>
              <a:gd name="connsiteX103" fmla="*/ 67682 w 2560637"/>
              <a:gd name="connsiteY103" fmla="*/ 1202424 h 3044825"/>
              <a:gd name="connsiteX104" fmla="*/ 705 w 2560637"/>
              <a:gd name="connsiteY104" fmla="*/ 977586 h 3044825"/>
              <a:gd name="connsiteX105" fmla="*/ 705 w 2560637"/>
              <a:gd name="connsiteY105" fmla="*/ 976177 h 3044825"/>
              <a:gd name="connsiteX106" fmla="*/ 705 w 2560637"/>
              <a:gd name="connsiteY106" fmla="*/ 972653 h 3044825"/>
              <a:gd name="connsiteX107" fmla="*/ 705 w 2560637"/>
              <a:gd name="connsiteY107" fmla="*/ 967719 h 3044825"/>
              <a:gd name="connsiteX108" fmla="*/ 705 w 2560637"/>
              <a:gd name="connsiteY108" fmla="*/ 967014 h 3044825"/>
              <a:gd name="connsiteX109" fmla="*/ 0 w 2560637"/>
              <a:gd name="connsiteY109" fmla="*/ 962785 h 3044825"/>
              <a:gd name="connsiteX110" fmla="*/ 0 w 2560637"/>
              <a:gd name="connsiteY110" fmla="*/ 959966 h 3044825"/>
              <a:gd name="connsiteX111" fmla="*/ 0 w 2560637"/>
              <a:gd name="connsiteY111" fmla="*/ 944460 h 3044825"/>
              <a:gd name="connsiteX112" fmla="*/ 0 w 2560637"/>
              <a:gd name="connsiteY112" fmla="*/ 943755 h 3044825"/>
              <a:gd name="connsiteX113" fmla="*/ 12691 w 2560637"/>
              <a:gd name="connsiteY113" fmla="*/ 839441 h 3044825"/>
              <a:gd name="connsiteX114" fmla="*/ 15511 w 2560637"/>
              <a:gd name="connsiteY114" fmla="*/ 828164 h 3044825"/>
              <a:gd name="connsiteX115" fmla="*/ 16216 w 2560637"/>
              <a:gd name="connsiteY115" fmla="*/ 826755 h 3044825"/>
              <a:gd name="connsiteX116" fmla="*/ 19036 w 2560637"/>
              <a:gd name="connsiteY116" fmla="*/ 816182 h 3044825"/>
              <a:gd name="connsiteX117" fmla="*/ 19036 w 2560637"/>
              <a:gd name="connsiteY117" fmla="*/ 814773 h 3044825"/>
              <a:gd name="connsiteX118" fmla="*/ 20446 w 2560637"/>
              <a:gd name="connsiteY118" fmla="*/ 810544 h 3044825"/>
              <a:gd name="connsiteX119" fmla="*/ 21151 w 2560637"/>
              <a:gd name="connsiteY119" fmla="*/ 809134 h 3044825"/>
              <a:gd name="connsiteX120" fmla="*/ 21856 w 2560637"/>
              <a:gd name="connsiteY120" fmla="*/ 804905 h 3044825"/>
              <a:gd name="connsiteX121" fmla="*/ 22561 w 2560637"/>
              <a:gd name="connsiteY121" fmla="*/ 803496 h 3044825"/>
              <a:gd name="connsiteX122" fmla="*/ 23971 w 2560637"/>
              <a:gd name="connsiteY122" fmla="*/ 799267 h 3044825"/>
              <a:gd name="connsiteX123" fmla="*/ 24676 w 2560637"/>
              <a:gd name="connsiteY123" fmla="*/ 797152 h 3044825"/>
              <a:gd name="connsiteX124" fmla="*/ 25381 w 2560637"/>
              <a:gd name="connsiteY124" fmla="*/ 794333 h 3044825"/>
              <a:gd name="connsiteX125" fmla="*/ 26086 w 2560637"/>
              <a:gd name="connsiteY125" fmla="*/ 791514 h 3044825"/>
              <a:gd name="connsiteX126" fmla="*/ 27496 w 2560637"/>
              <a:gd name="connsiteY126" fmla="*/ 789399 h 3044825"/>
              <a:gd name="connsiteX127" fmla="*/ 28906 w 2560637"/>
              <a:gd name="connsiteY127" fmla="*/ 785170 h 3044825"/>
              <a:gd name="connsiteX128" fmla="*/ 29611 w 2560637"/>
              <a:gd name="connsiteY128" fmla="*/ 783056 h 3044825"/>
              <a:gd name="connsiteX129" fmla="*/ 30316 w 2560637"/>
              <a:gd name="connsiteY129" fmla="*/ 780237 h 3044825"/>
              <a:gd name="connsiteX130" fmla="*/ 31021 w 2560637"/>
              <a:gd name="connsiteY130" fmla="*/ 778122 h 3044825"/>
              <a:gd name="connsiteX131" fmla="*/ 33136 w 2560637"/>
              <a:gd name="connsiteY131" fmla="*/ 773188 h 3044825"/>
              <a:gd name="connsiteX132" fmla="*/ 33841 w 2560637"/>
              <a:gd name="connsiteY132" fmla="*/ 771779 h 3044825"/>
              <a:gd name="connsiteX133" fmla="*/ 34546 w 2560637"/>
              <a:gd name="connsiteY133" fmla="*/ 768959 h 3044825"/>
              <a:gd name="connsiteX134" fmla="*/ 37366 w 2560637"/>
              <a:gd name="connsiteY134" fmla="*/ 761911 h 3044825"/>
              <a:gd name="connsiteX135" fmla="*/ 38071 w 2560637"/>
              <a:gd name="connsiteY135" fmla="*/ 761206 h 3044825"/>
              <a:gd name="connsiteX136" fmla="*/ 42302 w 2560637"/>
              <a:gd name="connsiteY136" fmla="*/ 750634 h 3044825"/>
              <a:gd name="connsiteX137" fmla="*/ 47237 w 2560637"/>
              <a:gd name="connsiteY137" fmla="*/ 739357 h 3044825"/>
              <a:gd name="connsiteX138" fmla="*/ 49352 w 2560637"/>
              <a:gd name="connsiteY138" fmla="*/ 734423 h 3044825"/>
              <a:gd name="connsiteX139" fmla="*/ 67682 w 2560637"/>
              <a:gd name="connsiteY139" fmla="*/ 700592 h 3044825"/>
              <a:gd name="connsiteX140" fmla="*/ 472364 w 2560637"/>
              <a:gd name="connsiteY140" fmla="*/ 0 h 304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2560637" h="3044825">
                <a:moveTo>
                  <a:pt x="472364" y="0"/>
                </a:moveTo>
                <a:cubicBezTo>
                  <a:pt x="472364" y="0"/>
                  <a:pt x="472364" y="0"/>
                  <a:pt x="1500285" y="0"/>
                </a:cubicBezTo>
                <a:cubicBezTo>
                  <a:pt x="1504515" y="24669"/>
                  <a:pt x="1506630" y="49338"/>
                  <a:pt x="1507335" y="74006"/>
                </a:cubicBezTo>
                <a:cubicBezTo>
                  <a:pt x="1506630" y="78940"/>
                  <a:pt x="1506630" y="84579"/>
                  <a:pt x="1507335" y="89512"/>
                </a:cubicBezTo>
                <a:cubicBezTo>
                  <a:pt x="1508040" y="172681"/>
                  <a:pt x="1529896" y="255850"/>
                  <a:pt x="1574312" y="332675"/>
                </a:cubicBezTo>
                <a:cubicBezTo>
                  <a:pt x="1618729" y="409501"/>
                  <a:pt x="1680065" y="470116"/>
                  <a:pt x="1751273" y="512405"/>
                </a:cubicBezTo>
                <a:cubicBezTo>
                  <a:pt x="1755503" y="515224"/>
                  <a:pt x="1760438" y="518043"/>
                  <a:pt x="1765373" y="520863"/>
                </a:cubicBezTo>
                <a:cubicBezTo>
                  <a:pt x="1914133" y="603327"/>
                  <a:pt x="2101668" y="608260"/>
                  <a:pt x="2260298" y="516634"/>
                </a:cubicBezTo>
                <a:cubicBezTo>
                  <a:pt x="2261003" y="516634"/>
                  <a:pt x="2261003" y="516634"/>
                  <a:pt x="2261003" y="516634"/>
                </a:cubicBezTo>
                <a:cubicBezTo>
                  <a:pt x="2261708" y="515929"/>
                  <a:pt x="2262413" y="515224"/>
                  <a:pt x="2263118" y="515224"/>
                </a:cubicBezTo>
                <a:cubicBezTo>
                  <a:pt x="2263118" y="515224"/>
                  <a:pt x="2263118" y="515224"/>
                  <a:pt x="2263823" y="515224"/>
                </a:cubicBezTo>
                <a:cubicBezTo>
                  <a:pt x="2263823" y="514519"/>
                  <a:pt x="2263823" y="514519"/>
                  <a:pt x="2263823" y="514519"/>
                </a:cubicBezTo>
                <a:cubicBezTo>
                  <a:pt x="2264528" y="514519"/>
                  <a:pt x="2264528" y="514519"/>
                  <a:pt x="2264528" y="514519"/>
                </a:cubicBezTo>
                <a:cubicBezTo>
                  <a:pt x="2266643" y="513109"/>
                  <a:pt x="2268758" y="512405"/>
                  <a:pt x="2270168" y="510995"/>
                </a:cubicBezTo>
                <a:cubicBezTo>
                  <a:pt x="2271578" y="510290"/>
                  <a:pt x="2272283" y="510290"/>
                  <a:pt x="2273693" y="509585"/>
                </a:cubicBezTo>
                <a:cubicBezTo>
                  <a:pt x="2273693" y="509585"/>
                  <a:pt x="2274399" y="508881"/>
                  <a:pt x="2274399" y="508881"/>
                </a:cubicBezTo>
                <a:cubicBezTo>
                  <a:pt x="2275103" y="508881"/>
                  <a:pt x="2275103" y="508881"/>
                  <a:pt x="2275103" y="508176"/>
                </a:cubicBezTo>
                <a:cubicBezTo>
                  <a:pt x="2275809" y="508176"/>
                  <a:pt x="2277219" y="507471"/>
                  <a:pt x="2277923" y="506766"/>
                </a:cubicBezTo>
                <a:cubicBezTo>
                  <a:pt x="2279333" y="506061"/>
                  <a:pt x="2280743" y="505356"/>
                  <a:pt x="2282154" y="504652"/>
                </a:cubicBezTo>
                <a:cubicBezTo>
                  <a:pt x="2282859" y="504652"/>
                  <a:pt x="2283564" y="503947"/>
                  <a:pt x="2284269" y="503947"/>
                </a:cubicBezTo>
                <a:cubicBezTo>
                  <a:pt x="2284974" y="503242"/>
                  <a:pt x="2285679" y="503242"/>
                  <a:pt x="2286384" y="502537"/>
                </a:cubicBezTo>
                <a:cubicBezTo>
                  <a:pt x="2287794" y="501832"/>
                  <a:pt x="2289204" y="501128"/>
                  <a:pt x="2290614" y="500423"/>
                </a:cubicBezTo>
                <a:cubicBezTo>
                  <a:pt x="2292024" y="500423"/>
                  <a:pt x="2292729" y="499718"/>
                  <a:pt x="2293434" y="499013"/>
                </a:cubicBezTo>
                <a:cubicBezTo>
                  <a:pt x="2294139" y="499013"/>
                  <a:pt x="2294844" y="498308"/>
                  <a:pt x="2296254" y="497604"/>
                </a:cubicBezTo>
                <a:cubicBezTo>
                  <a:pt x="2296959" y="497604"/>
                  <a:pt x="2297664" y="497604"/>
                  <a:pt x="2297664" y="496899"/>
                </a:cubicBezTo>
                <a:cubicBezTo>
                  <a:pt x="2299074" y="496194"/>
                  <a:pt x="2300484" y="496194"/>
                  <a:pt x="2301894" y="495489"/>
                </a:cubicBezTo>
                <a:cubicBezTo>
                  <a:pt x="2302599" y="494784"/>
                  <a:pt x="2304009" y="494079"/>
                  <a:pt x="2304714" y="494079"/>
                </a:cubicBezTo>
                <a:cubicBezTo>
                  <a:pt x="2306124" y="493375"/>
                  <a:pt x="2306829" y="493375"/>
                  <a:pt x="2307535" y="492670"/>
                </a:cubicBezTo>
                <a:cubicBezTo>
                  <a:pt x="2308239" y="492670"/>
                  <a:pt x="2308945" y="491965"/>
                  <a:pt x="2309649" y="491965"/>
                </a:cubicBezTo>
                <a:cubicBezTo>
                  <a:pt x="2311059" y="491260"/>
                  <a:pt x="2311765" y="490555"/>
                  <a:pt x="2313175" y="490555"/>
                </a:cubicBezTo>
                <a:cubicBezTo>
                  <a:pt x="2315289" y="489146"/>
                  <a:pt x="2317405" y="488441"/>
                  <a:pt x="2319520" y="487736"/>
                </a:cubicBezTo>
                <a:cubicBezTo>
                  <a:pt x="2320930" y="487031"/>
                  <a:pt x="2322340" y="486326"/>
                  <a:pt x="2323750" y="485621"/>
                </a:cubicBezTo>
                <a:cubicBezTo>
                  <a:pt x="2325865" y="484917"/>
                  <a:pt x="2328685" y="483507"/>
                  <a:pt x="2330800" y="482802"/>
                </a:cubicBezTo>
                <a:cubicBezTo>
                  <a:pt x="2332210" y="482802"/>
                  <a:pt x="2333620" y="482097"/>
                  <a:pt x="2334325" y="481393"/>
                </a:cubicBezTo>
                <a:cubicBezTo>
                  <a:pt x="2334325" y="481393"/>
                  <a:pt x="2335030" y="481393"/>
                  <a:pt x="2335030" y="481393"/>
                </a:cubicBezTo>
                <a:cubicBezTo>
                  <a:pt x="2335735" y="480688"/>
                  <a:pt x="2337145" y="480688"/>
                  <a:pt x="2337850" y="479983"/>
                </a:cubicBezTo>
                <a:cubicBezTo>
                  <a:pt x="2339260" y="479983"/>
                  <a:pt x="2340671" y="479278"/>
                  <a:pt x="2342785" y="478573"/>
                </a:cubicBezTo>
                <a:cubicBezTo>
                  <a:pt x="2342785" y="478573"/>
                  <a:pt x="2343491" y="478573"/>
                  <a:pt x="2344195" y="477868"/>
                </a:cubicBezTo>
                <a:cubicBezTo>
                  <a:pt x="2351951" y="475049"/>
                  <a:pt x="2360411" y="472935"/>
                  <a:pt x="2368166" y="470116"/>
                </a:cubicBezTo>
                <a:cubicBezTo>
                  <a:pt x="2369576" y="470116"/>
                  <a:pt x="2370281" y="469411"/>
                  <a:pt x="2370986" y="469411"/>
                </a:cubicBezTo>
                <a:cubicBezTo>
                  <a:pt x="2372396" y="468706"/>
                  <a:pt x="2374511" y="468706"/>
                  <a:pt x="2375921" y="468001"/>
                </a:cubicBezTo>
                <a:cubicBezTo>
                  <a:pt x="2378741" y="467296"/>
                  <a:pt x="2381561" y="466591"/>
                  <a:pt x="2384382" y="465886"/>
                </a:cubicBezTo>
                <a:cubicBezTo>
                  <a:pt x="2385087" y="465182"/>
                  <a:pt x="2385792" y="465182"/>
                  <a:pt x="2386497" y="465182"/>
                </a:cubicBezTo>
                <a:cubicBezTo>
                  <a:pt x="2387202" y="465182"/>
                  <a:pt x="2387202" y="465182"/>
                  <a:pt x="2387907" y="464477"/>
                </a:cubicBezTo>
                <a:cubicBezTo>
                  <a:pt x="2390022" y="464477"/>
                  <a:pt x="2392842" y="463772"/>
                  <a:pt x="2395662" y="463067"/>
                </a:cubicBezTo>
                <a:cubicBezTo>
                  <a:pt x="2397072" y="462362"/>
                  <a:pt x="2397777" y="462362"/>
                  <a:pt x="2399187" y="461658"/>
                </a:cubicBezTo>
                <a:cubicBezTo>
                  <a:pt x="2400597" y="461658"/>
                  <a:pt x="2401302" y="461658"/>
                  <a:pt x="2402007" y="460953"/>
                </a:cubicBezTo>
                <a:cubicBezTo>
                  <a:pt x="2402712" y="460953"/>
                  <a:pt x="2402712" y="460953"/>
                  <a:pt x="2402712" y="460953"/>
                </a:cubicBezTo>
                <a:cubicBezTo>
                  <a:pt x="2404122" y="460953"/>
                  <a:pt x="2405532" y="460953"/>
                  <a:pt x="2406943" y="460248"/>
                </a:cubicBezTo>
                <a:cubicBezTo>
                  <a:pt x="2408353" y="460248"/>
                  <a:pt x="2409763" y="459543"/>
                  <a:pt x="2411173" y="459543"/>
                </a:cubicBezTo>
                <a:cubicBezTo>
                  <a:pt x="2413287" y="458838"/>
                  <a:pt x="2415403" y="458838"/>
                  <a:pt x="2417518" y="458133"/>
                </a:cubicBezTo>
                <a:cubicBezTo>
                  <a:pt x="2418223" y="458133"/>
                  <a:pt x="2418928" y="458133"/>
                  <a:pt x="2419633" y="457429"/>
                </a:cubicBezTo>
                <a:cubicBezTo>
                  <a:pt x="2421043" y="457429"/>
                  <a:pt x="2421748" y="457429"/>
                  <a:pt x="2422453" y="457429"/>
                </a:cubicBezTo>
                <a:cubicBezTo>
                  <a:pt x="2425273" y="456724"/>
                  <a:pt x="2427388" y="456724"/>
                  <a:pt x="2430208" y="456019"/>
                </a:cubicBezTo>
                <a:cubicBezTo>
                  <a:pt x="2431618" y="456019"/>
                  <a:pt x="2433028" y="455314"/>
                  <a:pt x="2434438" y="455314"/>
                </a:cubicBezTo>
                <a:cubicBezTo>
                  <a:pt x="2434438" y="455314"/>
                  <a:pt x="2434438" y="455314"/>
                  <a:pt x="2435143" y="455314"/>
                </a:cubicBezTo>
                <a:cubicBezTo>
                  <a:pt x="2435143" y="455314"/>
                  <a:pt x="2435848" y="455314"/>
                  <a:pt x="2435848" y="455314"/>
                </a:cubicBezTo>
                <a:cubicBezTo>
                  <a:pt x="2437963" y="454609"/>
                  <a:pt x="2439373" y="454609"/>
                  <a:pt x="2441489" y="453905"/>
                </a:cubicBezTo>
                <a:cubicBezTo>
                  <a:pt x="2442899" y="453905"/>
                  <a:pt x="2444309" y="453905"/>
                  <a:pt x="2445719" y="453905"/>
                </a:cubicBezTo>
                <a:cubicBezTo>
                  <a:pt x="2447833" y="453200"/>
                  <a:pt x="2449949" y="453200"/>
                  <a:pt x="2451359" y="453200"/>
                </a:cubicBezTo>
                <a:cubicBezTo>
                  <a:pt x="2452064" y="452495"/>
                  <a:pt x="2452769" y="452495"/>
                  <a:pt x="2453474" y="452495"/>
                </a:cubicBezTo>
                <a:cubicBezTo>
                  <a:pt x="2454884" y="452495"/>
                  <a:pt x="2456294" y="452495"/>
                  <a:pt x="2457704" y="452495"/>
                </a:cubicBezTo>
                <a:cubicBezTo>
                  <a:pt x="2459819" y="451790"/>
                  <a:pt x="2462639" y="451790"/>
                  <a:pt x="2464754" y="451790"/>
                </a:cubicBezTo>
                <a:cubicBezTo>
                  <a:pt x="2466164" y="451085"/>
                  <a:pt x="2466869" y="451085"/>
                  <a:pt x="2468279" y="451085"/>
                </a:cubicBezTo>
                <a:cubicBezTo>
                  <a:pt x="2468984" y="451085"/>
                  <a:pt x="2469689" y="451085"/>
                  <a:pt x="2470394" y="451085"/>
                </a:cubicBezTo>
                <a:cubicBezTo>
                  <a:pt x="2472509" y="451085"/>
                  <a:pt x="2474625" y="450380"/>
                  <a:pt x="2476739" y="450380"/>
                </a:cubicBezTo>
                <a:cubicBezTo>
                  <a:pt x="2478149" y="450380"/>
                  <a:pt x="2479559" y="450380"/>
                  <a:pt x="2480969" y="450380"/>
                </a:cubicBezTo>
                <a:cubicBezTo>
                  <a:pt x="2483790" y="450380"/>
                  <a:pt x="2485905" y="449676"/>
                  <a:pt x="2488020" y="449676"/>
                </a:cubicBezTo>
                <a:cubicBezTo>
                  <a:pt x="2489430" y="449676"/>
                  <a:pt x="2491545" y="449676"/>
                  <a:pt x="2492955" y="449676"/>
                </a:cubicBezTo>
                <a:cubicBezTo>
                  <a:pt x="2495070" y="449676"/>
                  <a:pt x="2497890" y="449676"/>
                  <a:pt x="2500005" y="449676"/>
                </a:cubicBezTo>
                <a:cubicBezTo>
                  <a:pt x="2500710" y="449676"/>
                  <a:pt x="2501415" y="449676"/>
                  <a:pt x="2502120" y="449676"/>
                </a:cubicBezTo>
                <a:cubicBezTo>
                  <a:pt x="2502825" y="449676"/>
                  <a:pt x="2503530" y="449676"/>
                  <a:pt x="2504940" y="449676"/>
                </a:cubicBezTo>
                <a:cubicBezTo>
                  <a:pt x="2507055" y="449676"/>
                  <a:pt x="2509171" y="448971"/>
                  <a:pt x="2511991" y="449676"/>
                </a:cubicBezTo>
                <a:cubicBezTo>
                  <a:pt x="2512695" y="449676"/>
                  <a:pt x="2514105" y="449676"/>
                  <a:pt x="2515516" y="449676"/>
                </a:cubicBezTo>
                <a:cubicBezTo>
                  <a:pt x="2516221" y="449676"/>
                  <a:pt x="2516926" y="449676"/>
                  <a:pt x="2517631" y="449676"/>
                </a:cubicBezTo>
                <a:cubicBezTo>
                  <a:pt x="2518336" y="449676"/>
                  <a:pt x="2519041" y="449676"/>
                  <a:pt x="2520451" y="449676"/>
                </a:cubicBezTo>
                <a:cubicBezTo>
                  <a:pt x="2521156" y="449676"/>
                  <a:pt x="2522566" y="449676"/>
                  <a:pt x="2523271" y="449676"/>
                </a:cubicBezTo>
                <a:cubicBezTo>
                  <a:pt x="2523976" y="449676"/>
                  <a:pt x="2525386" y="449676"/>
                  <a:pt x="2526091" y="449676"/>
                </a:cubicBezTo>
                <a:cubicBezTo>
                  <a:pt x="2529616" y="449676"/>
                  <a:pt x="2532436" y="449676"/>
                  <a:pt x="2535961" y="449676"/>
                </a:cubicBezTo>
                <a:cubicBezTo>
                  <a:pt x="2535961" y="449676"/>
                  <a:pt x="2536666" y="449676"/>
                  <a:pt x="2537371" y="449676"/>
                </a:cubicBezTo>
                <a:cubicBezTo>
                  <a:pt x="2541601" y="450380"/>
                  <a:pt x="2546537" y="450380"/>
                  <a:pt x="2550767" y="451085"/>
                </a:cubicBezTo>
                <a:cubicBezTo>
                  <a:pt x="2552177" y="451085"/>
                  <a:pt x="2552882" y="451085"/>
                  <a:pt x="2554292" y="451085"/>
                </a:cubicBezTo>
                <a:cubicBezTo>
                  <a:pt x="2554997" y="451085"/>
                  <a:pt x="2554997" y="451085"/>
                  <a:pt x="2554997" y="451085"/>
                </a:cubicBezTo>
                <a:cubicBezTo>
                  <a:pt x="2556407" y="451085"/>
                  <a:pt x="2557112" y="451085"/>
                  <a:pt x="2557817" y="451790"/>
                </a:cubicBezTo>
                <a:cubicBezTo>
                  <a:pt x="2558522" y="451790"/>
                  <a:pt x="2559932" y="451790"/>
                  <a:pt x="2560637" y="451790"/>
                </a:cubicBezTo>
                <a:lnTo>
                  <a:pt x="2560637" y="3044825"/>
                </a:lnTo>
                <a:cubicBezTo>
                  <a:pt x="2560637" y="3044825"/>
                  <a:pt x="2560637" y="3044825"/>
                  <a:pt x="2134804" y="3044825"/>
                </a:cubicBezTo>
                <a:cubicBezTo>
                  <a:pt x="1877471" y="2860162"/>
                  <a:pt x="1692756" y="2605722"/>
                  <a:pt x="1593348" y="2323089"/>
                </a:cubicBezTo>
                <a:cubicBezTo>
                  <a:pt x="1433308" y="2323089"/>
                  <a:pt x="1314865" y="2323089"/>
                  <a:pt x="1014526" y="2323089"/>
                </a:cubicBezTo>
                <a:cubicBezTo>
                  <a:pt x="925693" y="2325203"/>
                  <a:pt x="838270" y="2303354"/>
                  <a:pt x="760718" y="2260360"/>
                </a:cubicBezTo>
                <a:cubicBezTo>
                  <a:pt x="760013" y="2259655"/>
                  <a:pt x="760013" y="2259655"/>
                  <a:pt x="760013" y="2259655"/>
                </a:cubicBezTo>
                <a:cubicBezTo>
                  <a:pt x="759308" y="2259655"/>
                  <a:pt x="759308" y="2258950"/>
                  <a:pt x="758603" y="2258950"/>
                </a:cubicBezTo>
                <a:cubicBezTo>
                  <a:pt x="757898" y="2258950"/>
                  <a:pt x="757898" y="2258245"/>
                  <a:pt x="757193" y="2258245"/>
                </a:cubicBezTo>
                <a:cubicBezTo>
                  <a:pt x="755783" y="2257541"/>
                  <a:pt x="754373" y="2256836"/>
                  <a:pt x="753668" y="2256131"/>
                </a:cubicBezTo>
                <a:cubicBezTo>
                  <a:pt x="752963" y="2255426"/>
                  <a:pt x="752258" y="2255426"/>
                  <a:pt x="751553" y="2254721"/>
                </a:cubicBezTo>
                <a:cubicBezTo>
                  <a:pt x="750143" y="2254016"/>
                  <a:pt x="749438" y="2254016"/>
                  <a:pt x="748733" y="2253312"/>
                </a:cubicBezTo>
                <a:cubicBezTo>
                  <a:pt x="748028" y="2252607"/>
                  <a:pt x="747323" y="2252607"/>
                  <a:pt x="746618" y="2251902"/>
                </a:cubicBezTo>
                <a:cubicBezTo>
                  <a:pt x="746618" y="2251902"/>
                  <a:pt x="746618" y="2251902"/>
                  <a:pt x="745913" y="2251902"/>
                </a:cubicBezTo>
                <a:cubicBezTo>
                  <a:pt x="744503" y="2251197"/>
                  <a:pt x="743798" y="2250492"/>
                  <a:pt x="742388" y="2249787"/>
                </a:cubicBezTo>
                <a:cubicBezTo>
                  <a:pt x="742388" y="2249083"/>
                  <a:pt x="741683" y="2249083"/>
                  <a:pt x="741683" y="2249083"/>
                </a:cubicBezTo>
                <a:cubicBezTo>
                  <a:pt x="672590" y="2206793"/>
                  <a:pt x="613369" y="2146884"/>
                  <a:pt x="569657" y="2072173"/>
                </a:cubicBezTo>
                <a:cubicBezTo>
                  <a:pt x="568952" y="2070763"/>
                  <a:pt x="568247" y="2069353"/>
                  <a:pt x="567542" y="2067944"/>
                </a:cubicBezTo>
                <a:cubicBezTo>
                  <a:pt x="567542" y="2067944"/>
                  <a:pt x="567542" y="2067944"/>
                  <a:pt x="69797" y="1206653"/>
                </a:cubicBezTo>
                <a:cubicBezTo>
                  <a:pt x="69092" y="1205243"/>
                  <a:pt x="68387" y="1203834"/>
                  <a:pt x="67682" y="1202424"/>
                </a:cubicBezTo>
                <a:cubicBezTo>
                  <a:pt x="26791" y="1131237"/>
                  <a:pt x="4935" y="1054412"/>
                  <a:pt x="705" y="977586"/>
                </a:cubicBezTo>
                <a:cubicBezTo>
                  <a:pt x="705" y="977586"/>
                  <a:pt x="705" y="976882"/>
                  <a:pt x="705" y="976177"/>
                </a:cubicBezTo>
                <a:cubicBezTo>
                  <a:pt x="705" y="974767"/>
                  <a:pt x="705" y="974062"/>
                  <a:pt x="705" y="972653"/>
                </a:cubicBezTo>
                <a:cubicBezTo>
                  <a:pt x="705" y="971243"/>
                  <a:pt x="705" y="969833"/>
                  <a:pt x="705" y="967719"/>
                </a:cubicBezTo>
                <a:cubicBezTo>
                  <a:pt x="705" y="967719"/>
                  <a:pt x="705" y="967719"/>
                  <a:pt x="705" y="967014"/>
                </a:cubicBezTo>
                <a:cubicBezTo>
                  <a:pt x="705" y="965604"/>
                  <a:pt x="0" y="964195"/>
                  <a:pt x="0" y="962785"/>
                </a:cubicBezTo>
                <a:cubicBezTo>
                  <a:pt x="0" y="961375"/>
                  <a:pt x="0" y="960671"/>
                  <a:pt x="0" y="959966"/>
                </a:cubicBezTo>
                <a:cubicBezTo>
                  <a:pt x="0" y="954327"/>
                  <a:pt x="0" y="949394"/>
                  <a:pt x="0" y="944460"/>
                </a:cubicBezTo>
                <a:cubicBezTo>
                  <a:pt x="0" y="943755"/>
                  <a:pt x="0" y="943755"/>
                  <a:pt x="0" y="943755"/>
                </a:cubicBezTo>
                <a:cubicBezTo>
                  <a:pt x="705" y="908514"/>
                  <a:pt x="4935" y="873273"/>
                  <a:pt x="12691" y="839441"/>
                </a:cubicBezTo>
                <a:cubicBezTo>
                  <a:pt x="14101" y="835213"/>
                  <a:pt x="14806" y="831688"/>
                  <a:pt x="15511" y="828164"/>
                </a:cubicBezTo>
                <a:cubicBezTo>
                  <a:pt x="15511" y="827460"/>
                  <a:pt x="16216" y="827460"/>
                  <a:pt x="16216" y="826755"/>
                </a:cubicBezTo>
                <a:cubicBezTo>
                  <a:pt x="16921" y="823231"/>
                  <a:pt x="17626" y="819707"/>
                  <a:pt x="19036" y="816182"/>
                </a:cubicBezTo>
                <a:cubicBezTo>
                  <a:pt x="19036" y="816182"/>
                  <a:pt x="19036" y="815478"/>
                  <a:pt x="19036" y="814773"/>
                </a:cubicBezTo>
                <a:cubicBezTo>
                  <a:pt x="19741" y="813363"/>
                  <a:pt x="19741" y="811953"/>
                  <a:pt x="20446" y="810544"/>
                </a:cubicBezTo>
                <a:cubicBezTo>
                  <a:pt x="20446" y="809839"/>
                  <a:pt x="20446" y="809839"/>
                  <a:pt x="21151" y="809134"/>
                </a:cubicBezTo>
                <a:cubicBezTo>
                  <a:pt x="21151" y="807725"/>
                  <a:pt x="21856" y="806315"/>
                  <a:pt x="21856" y="804905"/>
                </a:cubicBezTo>
                <a:cubicBezTo>
                  <a:pt x="22561" y="804905"/>
                  <a:pt x="22561" y="804200"/>
                  <a:pt x="22561" y="803496"/>
                </a:cubicBezTo>
                <a:cubicBezTo>
                  <a:pt x="23266" y="802086"/>
                  <a:pt x="23266" y="800676"/>
                  <a:pt x="23971" y="799267"/>
                </a:cubicBezTo>
                <a:cubicBezTo>
                  <a:pt x="23971" y="798562"/>
                  <a:pt x="24676" y="797857"/>
                  <a:pt x="24676" y="797152"/>
                </a:cubicBezTo>
                <a:cubicBezTo>
                  <a:pt x="24676" y="795743"/>
                  <a:pt x="25381" y="795038"/>
                  <a:pt x="25381" y="794333"/>
                </a:cubicBezTo>
                <a:cubicBezTo>
                  <a:pt x="26086" y="792923"/>
                  <a:pt x="26086" y="792219"/>
                  <a:pt x="26086" y="791514"/>
                </a:cubicBezTo>
                <a:cubicBezTo>
                  <a:pt x="26791" y="790809"/>
                  <a:pt x="26791" y="790104"/>
                  <a:pt x="27496" y="789399"/>
                </a:cubicBezTo>
                <a:cubicBezTo>
                  <a:pt x="27496" y="787990"/>
                  <a:pt x="28201" y="786580"/>
                  <a:pt x="28906" y="785170"/>
                </a:cubicBezTo>
                <a:cubicBezTo>
                  <a:pt x="28906" y="784465"/>
                  <a:pt x="28906" y="783761"/>
                  <a:pt x="29611" y="783056"/>
                </a:cubicBezTo>
                <a:cubicBezTo>
                  <a:pt x="29611" y="781646"/>
                  <a:pt x="30316" y="780941"/>
                  <a:pt x="30316" y="780237"/>
                </a:cubicBezTo>
                <a:cubicBezTo>
                  <a:pt x="30316" y="779532"/>
                  <a:pt x="31021" y="778827"/>
                  <a:pt x="31021" y="778122"/>
                </a:cubicBezTo>
                <a:cubicBezTo>
                  <a:pt x="31726" y="776712"/>
                  <a:pt x="32431" y="775303"/>
                  <a:pt x="33136" y="773188"/>
                </a:cubicBezTo>
                <a:cubicBezTo>
                  <a:pt x="33136" y="773188"/>
                  <a:pt x="33136" y="772484"/>
                  <a:pt x="33841" y="771779"/>
                </a:cubicBezTo>
                <a:cubicBezTo>
                  <a:pt x="33841" y="771074"/>
                  <a:pt x="34546" y="769664"/>
                  <a:pt x="34546" y="768959"/>
                </a:cubicBezTo>
                <a:cubicBezTo>
                  <a:pt x="35956" y="766140"/>
                  <a:pt x="36661" y="764026"/>
                  <a:pt x="37366" y="761911"/>
                </a:cubicBezTo>
                <a:cubicBezTo>
                  <a:pt x="37366" y="761206"/>
                  <a:pt x="37366" y="761206"/>
                  <a:pt x="38071" y="761206"/>
                </a:cubicBezTo>
                <a:cubicBezTo>
                  <a:pt x="39481" y="757682"/>
                  <a:pt x="40891" y="754158"/>
                  <a:pt x="42302" y="750634"/>
                </a:cubicBezTo>
                <a:cubicBezTo>
                  <a:pt x="43712" y="746405"/>
                  <a:pt x="45827" y="742881"/>
                  <a:pt x="47237" y="739357"/>
                </a:cubicBezTo>
                <a:cubicBezTo>
                  <a:pt x="47942" y="737947"/>
                  <a:pt x="48647" y="735833"/>
                  <a:pt x="49352" y="734423"/>
                </a:cubicBezTo>
                <a:cubicBezTo>
                  <a:pt x="54992" y="723146"/>
                  <a:pt x="61337" y="711869"/>
                  <a:pt x="67682" y="700592"/>
                </a:cubicBezTo>
                <a:cubicBezTo>
                  <a:pt x="281304" y="330561"/>
                  <a:pt x="313030" y="275585"/>
                  <a:pt x="472364" y="0"/>
                </a:cubicBezTo>
                <a:close/>
              </a:path>
            </a:pathLst>
          </a:custGeom>
        </p:spPr>
        <p:txBody>
          <a:bodyPr wrap="square" tIns="972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5267940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5C498B5-87A5-1990-7DDE-07EE0E9C023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624878" y="0"/>
            <a:ext cx="5567122" cy="6858000"/>
          </a:xfrm>
          <a:custGeom>
            <a:avLst/>
            <a:gdLst>
              <a:gd name="connsiteX0" fmla="*/ 1285861 w 2649538"/>
              <a:gd name="connsiteY0" fmla="*/ 0 h 3263900"/>
              <a:gd name="connsiteX1" fmla="*/ 2117666 w 2649538"/>
              <a:gd name="connsiteY1" fmla="*/ 0 h 3263900"/>
              <a:gd name="connsiteX2" fmla="*/ 2249879 w 2649538"/>
              <a:gd name="connsiteY2" fmla="*/ 154884 h 3263900"/>
              <a:gd name="connsiteX3" fmla="*/ 2252145 w 2649538"/>
              <a:gd name="connsiteY3" fmla="*/ 158662 h 3263900"/>
              <a:gd name="connsiteX4" fmla="*/ 2257433 w 2649538"/>
              <a:gd name="connsiteY4" fmla="*/ 168484 h 3263900"/>
              <a:gd name="connsiteX5" fmla="*/ 2259700 w 2649538"/>
              <a:gd name="connsiteY5" fmla="*/ 172261 h 3263900"/>
              <a:gd name="connsiteX6" fmla="*/ 2339027 w 2649538"/>
              <a:gd name="connsiteY6" fmla="*/ 477497 h 3263900"/>
              <a:gd name="connsiteX7" fmla="*/ 2259700 w 2649538"/>
              <a:gd name="connsiteY7" fmla="*/ 781976 h 3263900"/>
              <a:gd name="connsiteX8" fmla="*/ 2249879 w 2649538"/>
              <a:gd name="connsiteY8" fmla="*/ 799353 h 3263900"/>
              <a:gd name="connsiteX9" fmla="*/ 2170551 w 2649538"/>
              <a:gd name="connsiteY9" fmla="*/ 1103833 h 3263900"/>
              <a:gd name="connsiteX10" fmla="*/ 2249879 w 2649538"/>
              <a:gd name="connsiteY10" fmla="*/ 1409068 h 3263900"/>
              <a:gd name="connsiteX11" fmla="*/ 2259700 w 2649538"/>
              <a:gd name="connsiteY11" fmla="*/ 1425690 h 3263900"/>
              <a:gd name="connsiteX12" fmla="*/ 2649538 w 2649538"/>
              <a:gd name="connsiteY12" fmla="*/ 1712792 h 3263900"/>
              <a:gd name="connsiteX13" fmla="*/ 2649538 w 2649538"/>
              <a:gd name="connsiteY13" fmla="*/ 3263900 h 3263900"/>
              <a:gd name="connsiteX14" fmla="*/ 942108 w 2649538"/>
              <a:gd name="connsiteY14" fmla="*/ 3263900 h 3263900"/>
              <a:gd name="connsiteX15" fmla="*/ 323354 w 2649538"/>
              <a:gd name="connsiteY15" fmla="*/ 2905778 h 3263900"/>
              <a:gd name="connsiteX16" fmla="*/ 0 w 2649538"/>
              <a:gd name="connsiteY16" fmla="*/ 2357261 h 3263900"/>
              <a:gd name="connsiteX17" fmla="*/ 0 w 2649538"/>
              <a:gd name="connsiteY17" fmla="*/ 2349706 h 3263900"/>
              <a:gd name="connsiteX18" fmla="*/ 77061 w 2649538"/>
              <a:gd name="connsiteY18" fmla="*/ 2055804 h 3263900"/>
              <a:gd name="connsiteX19" fmla="*/ 90660 w 2649538"/>
              <a:gd name="connsiteY19" fmla="*/ 2032382 h 3263900"/>
              <a:gd name="connsiteX20" fmla="*/ 167721 w 2649538"/>
              <a:gd name="connsiteY20" fmla="*/ 1730925 h 3263900"/>
              <a:gd name="connsiteX21" fmla="*/ 90660 w 2649538"/>
              <a:gd name="connsiteY21" fmla="*/ 1429468 h 3263900"/>
              <a:gd name="connsiteX22" fmla="*/ 77061 w 2649538"/>
              <a:gd name="connsiteY22" fmla="*/ 1406046 h 3263900"/>
              <a:gd name="connsiteX23" fmla="*/ 0 w 2649538"/>
              <a:gd name="connsiteY23" fmla="*/ 1111388 h 3263900"/>
              <a:gd name="connsiteX24" fmla="*/ 0 w 2649538"/>
              <a:gd name="connsiteY24" fmla="*/ 1103833 h 3263900"/>
              <a:gd name="connsiteX25" fmla="*/ 323354 w 2649538"/>
              <a:gd name="connsiteY25" fmla="*/ 555316 h 3263900"/>
              <a:gd name="connsiteX26" fmla="*/ 1285861 w 2649538"/>
              <a:gd name="connsiteY26" fmla="*/ 0 h 326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49538" h="3263900">
                <a:moveTo>
                  <a:pt x="1285861" y="0"/>
                </a:moveTo>
                <a:cubicBezTo>
                  <a:pt x="1285861" y="0"/>
                  <a:pt x="1285861" y="0"/>
                  <a:pt x="2117666" y="0"/>
                </a:cubicBezTo>
                <a:cubicBezTo>
                  <a:pt x="2169795" y="43821"/>
                  <a:pt x="2214370" y="96708"/>
                  <a:pt x="2249879" y="154884"/>
                </a:cubicBezTo>
                <a:cubicBezTo>
                  <a:pt x="2250634" y="156395"/>
                  <a:pt x="2251389" y="157151"/>
                  <a:pt x="2252145" y="158662"/>
                </a:cubicBezTo>
                <a:cubicBezTo>
                  <a:pt x="2253656" y="161684"/>
                  <a:pt x="2255923" y="164706"/>
                  <a:pt x="2257433" y="168484"/>
                </a:cubicBezTo>
                <a:cubicBezTo>
                  <a:pt x="2258189" y="169995"/>
                  <a:pt x="2258945" y="170750"/>
                  <a:pt x="2259700" y="172261"/>
                </a:cubicBezTo>
                <a:cubicBezTo>
                  <a:pt x="2310319" y="262925"/>
                  <a:pt x="2339027" y="366433"/>
                  <a:pt x="2339027" y="477497"/>
                </a:cubicBezTo>
                <a:cubicBezTo>
                  <a:pt x="2339027" y="587804"/>
                  <a:pt x="2310319" y="692068"/>
                  <a:pt x="2259700" y="781976"/>
                </a:cubicBezTo>
                <a:cubicBezTo>
                  <a:pt x="2256678" y="788020"/>
                  <a:pt x="2253656" y="793309"/>
                  <a:pt x="2249879" y="799353"/>
                </a:cubicBezTo>
                <a:cubicBezTo>
                  <a:pt x="2199260" y="889262"/>
                  <a:pt x="2170551" y="993525"/>
                  <a:pt x="2170551" y="1103833"/>
                </a:cubicBezTo>
                <a:cubicBezTo>
                  <a:pt x="2170551" y="1214896"/>
                  <a:pt x="2199260" y="1318404"/>
                  <a:pt x="2249879" y="1409068"/>
                </a:cubicBezTo>
                <a:cubicBezTo>
                  <a:pt x="2253656" y="1414357"/>
                  <a:pt x="2256678" y="1420401"/>
                  <a:pt x="2259700" y="1425690"/>
                </a:cubicBezTo>
                <a:cubicBezTo>
                  <a:pt x="2345071" y="1567730"/>
                  <a:pt x="2484839" y="1673504"/>
                  <a:pt x="2649538" y="1712792"/>
                </a:cubicBezTo>
                <a:lnTo>
                  <a:pt x="2649538" y="3263900"/>
                </a:lnTo>
                <a:cubicBezTo>
                  <a:pt x="2649538" y="3263900"/>
                  <a:pt x="2649538" y="3263900"/>
                  <a:pt x="942108" y="3263900"/>
                </a:cubicBezTo>
                <a:cubicBezTo>
                  <a:pt x="942108" y="3263900"/>
                  <a:pt x="942108" y="3263900"/>
                  <a:pt x="323354" y="2905778"/>
                </a:cubicBezTo>
                <a:cubicBezTo>
                  <a:pt x="129946" y="2799248"/>
                  <a:pt x="0" y="2593743"/>
                  <a:pt x="0" y="2357261"/>
                </a:cubicBezTo>
                <a:cubicBezTo>
                  <a:pt x="0" y="2357261"/>
                  <a:pt x="0" y="2357261"/>
                  <a:pt x="0" y="2349706"/>
                </a:cubicBezTo>
                <a:cubicBezTo>
                  <a:pt x="756" y="2243176"/>
                  <a:pt x="28709" y="2143446"/>
                  <a:pt x="77061" y="2055804"/>
                </a:cubicBezTo>
                <a:cubicBezTo>
                  <a:pt x="81594" y="2048249"/>
                  <a:pt x="85372" y="2039938"/>
                  <a:pt x="90660" y="2032382"/>
                </a:cubicBezTo>
                <a:cubicBezTo>
                  <a:pt x="139768" y="1943230"/>
                  <a:pt x="167721" y="1839722"/>
                  <a:pt x="167721" y="1730925"/>
                </a:cubicBezTo>
                <a:cubicBezTo>
                  <a:pt x="167721" y="1621373"/>
                  <a:pt x="139768" y="1518620"/>
                  <a:pt x="90660" y="1429468"/>
                </a:cubicBezTo>
                <a:cubicBezTo>
                  <a:pt x="85372" y="1421157"/>
                  <a:pt x="81594" y="1413601"/>
                  <a:pt x="77061" y="1406046"/>
                </a:cubicBezTo>
                <a:cubicBezTo>
                  <a:pt x="28709" y="1318404"/>
                  <a:pt x="756" y="1217918"/>
                  <a:pt x="0" y="1111388"/>
                </a:cubicBezTo>
                <a:cubicBezTo>
                  <a:pt x="0" y="1111388"/>
                  <a:pt x="0" y="1111388"/>
                  <a:pt x="0" y="1103833"/>
                </a:cubicBezTo>
                <a:cubicBezTo>
                  <a:pt x="0" y="868107"/>
                  <a:pt x="129946" y="662602"/>
                  <a:pt x="323354" y="555316"/>
                </a:cubicBezTo>
                <a:cubicBezTo>
                  <a:pt x="815940" y="271236"/>
                  <a:pt x="855981" y="247815"/>
                  <a:pt x="1285861" y="0"/>
                </a:cubicBezTo>
                <a:close/>
              </a:path>
            </a:pathLst>
          </a:custGeom>
        </p:spPr>
        <p:txBody>
          <a:bodyPr wrap="square" tIns="23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A7B6C5-FF22-1A7A-56C3-FB036A816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2022689"/>
            <a:ext cx="5040312" cy="4000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GB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3130346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816D6385-18A1-6221-5006-883352883F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6715" y="4075977"/>
            <a:ext cx="4333396" cy="2923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9856" y="6449644"/>
            <a:ext cx="268799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50680" y="5242706"/>
            <a:ext cx="1900238" cy="8075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background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EAAADDCE-325A-64FA-E1F0-74611D7996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61" y="0"/>
            <a:ext cx="538323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369C37-70C6-FCF2-DB71-DC0419FDC4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371552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85401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D6FE65-CDC9-AAAA-626E-CB276D55A98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26481" y="-14910"/>
            <a:ext cx="5485400" cy="5078897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0012372-BD19-2E77-27DE-2E8E6BEA2C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00940" y="1453666"/>
            <a:ext cx="3516110" cy="5410321"/>
          </a:xfrm>
          <a:custGeom>
            <a:avLst/>
            <a:gdLst>
              <a:gd name="connsiteX0" fmla="*/ 1776282 w 3248688"/>
              <a:gd name="connsiteY0" fmla="*/ 0 h 4998832"/>
              <a:gd name="connsiteX1" fmla="*/ 2209343 w 3248688"/>
              <a:gd name="connsiteY1" fmla="*/ 111490 h 4998832"/>
              <a:gd name="connsiteX2" fmla="*/ 2232831 w 3248688"/>
              <a:gd name="connsiteY2" fmla="*/ 126160 h 4998832"/>
              <a:gd name="connsiteX3" fmla="*/ 2665891 w 3248688"/>
              <a:gd name="connsiteY3" fmla="*/ 887520 h 4998832"/>
              <a:gd name="connsiteX4" fmla="*/ 3097484 w 3248688"/>
              <a:gd name="connsiteY4" fmla="*/ 1648881 h 4998832"/>
              <a:gd name="connsiteX5" fmla="*/ 3122440 w 3248688"/>
              <a:gd name="connsiteY5" fmla="*/ 1663551 h 4998832"/>
              <a:gd name="connsiteX6" fmla="*/ 3248688 w 3248688"/>
              <a:gd name="connsiteY6" fmla="*/ 1720763 h 4998832"/>
              <a:gd name="connsiteX7" fmla="*/ 3248688 w 3248688"/>
              <a:gd name="connsiteY7" fmla="*/ 4997986 h 4998832"/>
              <a:gd name="connsiteX8" fmla="*/ 1977399 w 3248688"/>
              <a:gd name="connsiteY8" fmla="*/ 4997986 h 4998832"/>
              <a:gd name="connsiteX9" fmla="*/ 1353498 w 3248688"/>
              <a:gd name="connsiteY9" fmla="*/ 4744200 h 4998832"/>
              <a:gd name="connsiteX10" fmla="*/ 1352030 w 3248688"/>
              <a:gd name="connsiteY10" fmla="*/ 4744200 h 4998832"/>
              <a:gd name="connsiteX11" fmla="*/ 1344690 w 3248688"/>
              <a:gd name="connsiteY11" fmla="*/ 4738332 h 4998832"/>
              <a:gd name="connsiteX12" fmla="*/ 1319734 w 3248688"/>
              <a:gd name="connsiteY12" fmla="*/ 4725129 h 4998832"/>
              <a:gd name="connsiteX13" fmla="*/ 1309458 w 3248688"/>
              <a:gd name="connsiteY13" fmla="*/ 4719261 h 4998832"/>
              <a:gd name="connsiteX14" fmla="*/ 807401 w 3248688"/>
              <a:gd name="connsiteY14" fmla="*/ 4334913 h 4998832"/>
              <a:gd name="connsiteX15" fmla="*/ 356725 w 3248688"/>
              <a:gd name="connsiteY15" fmla="*/ 3756925 h 4998832"/>
              <a:gd name="connsiteX16" fmla="*/ 80740 w 3248688"/>
              <a:gd name="connsiteY16" fmla="*/ 3079182 h 4998832"/>
              <a:gd name="connsiteX17" fmla="*/ 0 w 3248688"/>
              <a:gd name="connsiteY17" fmla="*/ 2441048 h 4998832"/>
              <a:gd name="connsiteX18" fmla="*/ 0 w 3248688"/>
              <a:gd name="connsiteY18" fmla="*/ 2424911 h 4998832"/>
              <a:gd name="connsiteX19" fmla="*/ 0 w 3248688"/>
              <a:gd name="connsiteY19" fmla="*/ 2411708 h 4998832"/>
              <a:gd name="connsiteX20" fmla="*/ 82208 w 3248688"/>
              <a:gd name="connsiteY20" fmla="*/ 1770640 h 4998832"/>
              <a:gd name="connsiteX21" fmla="*/ 807401 w 3248688"/>
              <a:gd name="connsiteY21" fmla="*/ 514909 h 4998832"/>
              <a:gd name="connsiteX22" fmla="*/ 1312394 w 3248688"/>
              <a:gd name="connsiteY22" fmla="*/ 130561 h 4998832"/>
              <a:gd name="connsiteX23" fmla="*/ 1316798 w 3248688"/>
              <a:gd name="connsiteY23" fmla="*/ 127627 h 4998832"/>
              <a:gd name="connsiteX24" fmla="*/ 1324138 w 3248688"/>
              <a:gd name="connsiteY24" fmla="*/ 123226 h 4998832"/>
              <a:gd name="connsiteX25" fmla="*/ 1338818 w 3248688"/>
              <a:gd name="connsiteY25" fmla="*/ 114424 h 4998832"/>
              <a:gd name="connsiteX26" fmla="*/ 1344690 w 3248688"/>
              <a:gd name="connsiteY26" fmla="*/ 111490 h 4998832"/>
              <a:gd name="connsiteX27" fmla="*/ 1354966 w 3248688"/>
              <a:gd name="connsiteY27" fmla="*/ 105622 h 4998832"/>
              <a:gd name="connsiteX28" fmla="*/ 1776282 w 3248688"/>
              <a:gd name="connsiteY28" fmla="*/ 0 h 4998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248688" h="4998832">
                <a:moveTo>
                  <a:pt x="1776282" y="0"/>
                </a:moveTo>
                <a:cubicBezTo>
                  <a:pt x="1933359" y="0"/>
                  <a:pt x="2081627" y="39608"/>
                  <a:pt x="2209343" y="111490"/>
                </a:cubicBezTo>
                <a:cubicBezTo>
                  <a:pt x="2216683" y="115891"/>
                  <a:pt x="2225491" y="121759"/>
                  <a:pt x="2232831" y="126160"/>
                </a:cubicBezTo>
                <a:cubicBezTo>
                  <a:pt x="2492667" y="280193"/>
                  <a:pt x="2665891" y="563319"/>
                  <a:pt x="2665891" y="887520"/>
                </a:cubicBezTo>
                <a:cubicBezTo>
                  <a:pt x="2665891" y="1210255"/>
                  <a:pt x="2839116" y="1493381"/>
                  <a:pt x="3097484" y="1648881"/>
                </a:cubicBezTo>
                <a:cubicBezTo>
                  <a:pt x="3104824" y="1654749"/>
                  <a:pt x="3113632" y="1659150"/>
                  <a:pt x="3122440" y="1663551"/>
                </a:cubicBezTo>
                <a:cubicBezTo>
                  <a:pt x="3162076" y="1685555"/>
                  <a:pt x="3204648" y="1706093"/>
                  <a:pt x="3248688" y="1720763"/>
                </a:cubicBezTo>
                <a:lnTo>
                  <a:pt x="3248688" y="4997986"/>
                </a:lnTo>
                <a:cubicBezTo>
                  <a:pt x="3236944" y="4995052"/>
                  <a:pt x="1989143" y="5000920"/>
                  <a:pt x="1977399" y="4997986"/>
                </a:cubicBezTo>
                <a:cubicBezTo>
                  <a:pt x="1773346" y="4940774"/>
                  <a:pt x="1538466" y="4848355"/>
                  <a:pt x="1353498" y="4744200"/>
                </a:cubicBezTo>
                <a:cubicBezTo>
                  <a:pt x="1353498" y="4744200"/>
                  <a:pt x="1353498" y="4744200"/>
                  <a:pt x="1352030" y="4744200"/>
                </a:cubicBezTo>
                <a:cubicBezTo>
                  <a:pt x="1349094" y="4741266"/>
                  <a:pt x="1347626" y="4739799"/>
                  <a:pt x="1344690" y="4738332"/>
                </a:cubicBezTo>
                <a:cubicBezTo>
                  <a:pt x="1337350" y="4733931"/>
                  <a:pt x="1328542" y="4729530"/>
                  <a:pt x="1319734" y="4725129"/>
                </a:cubicBezTo>
                <a:cubicBezTo>
                  <a:pt x="1316798" y="4722195"/>
                  <a:pt x="1312394" y="4720728"/>
                  <a:pt x="1309458" y="4719261"/>
                </a:cubicBezTo>
                <a:cubicBezTo>
                  <a:pt x="1128894" y="4612172"/>
                  <a:pt x="960073" y="4484545"/>
                  <a:pt x="807401" y="4334913"/>
                </a:cubicBezTo>
                <a:cubicBezTo>
                  <a:pt x="634177" y="4167678"/>
                  <a:pt x="482973" y="3975504"/>
                  <a:pt x="356725" y="3756925"/>
                </a:cubicBezTo>
                <a:cubicBezTo>
                  <a:pt x="230476" y="3539812"/>
                  <a:pt x="139460" y="3310964"/>
                  <a:pt x="80740" y="3079182"/>
                </a:cubicBezTo>
                <a:cubicBezTo>
                  <a:pt x="27892" y="2867938"/>
                  <a:pt x="0" y="2653759"/>
                  <a:pt x="0" y="2441048"/>
                </a:cubicBezTo>
                <a:cubicBezTo>
                  <a:pt x="0" y="2435180"/>
                  <a:pt x="0" y="2430779"/>
                  <a:pt x="0" y="2424911"/>
                </a:cubicBezTo>
                <a:cubicBezTo>
                  <a:pt x="0" y="2420510"/>
                  <a:pt x="0" y="2416109"/>
                  <a:pt x="0" y="2411708"/>
                </a:cubicBezTo>
                <a:cubicBezTo>
                  <a:pt x="1468" y="2194596"/>
                  <a:pt x="29360" y="1980417"/>
                  <a:pt x="82208" y="1770640"/>
                </a:cubicBezTo>
                <a:cubicBezTo>
                  <a:pt x="201116" y="1301208"/>
                  <a:pt x="447741" y="864049"/>
                  <a:pt x="807401" y="514909"/>
                </a:cubicBezTo>
                <a:cubicBezTo>
                  <a:pt x="955669" y="369678"/>
                  <a:pt x="1125958" y="240584"/>
                  <a:pt x="1312394" y="130561"/>
                </a:cubicBezTo>
                <a:cubicBezTo>
                  <a:pt x="1313862" y="129094"/>
                  <a:pt x="1315330" y="129094"/>
                  <a:pt x="1316798" y="127627"/>
                </a:cubicBezTo>
                <a:cubicBezTo>
                  <a:pt x="1318266" y="126160"/>
                  <a:pt x="1321202" y="124693"/>
                  <a:pt x="1324138" y="123226"/>
                </a:cubicBezTo>
                <a:cubicBezTo>
                  <a:pt x="1330010" y="120292"/>
                  <a:pt x="1334414" y="117358"/>
                  <a:pt x="1338818" y="114424"/>
                </a:cubicBezTo>
                <a:cubicBezTo>
                  <a:pt x="1341754" y="112957"/>
                  <a:pt x="1343222" y="112957"/>
                  <a:pt x="1344690" y="111490"/>
                </a:cubicBezTo>
                <a:cubicBezTo>
                  <a:pt x="1347626" y="110023"/>
                  <a:pt x="1352030" y="107089"/>
                  <a:pt x="1354966" y="105622"/>
                </a:cubicBezTo>
                <a:cubicBezTo>
                  <a:pt x="1481214" y="38141"/>
                  <a:pt x="1623610" y="0"/>
                  <a:pt x="1776282" y="0"/>
                </a:cubicBezTo>
                <a:close/>
              </a:path>
            </a:pathLst>
          </a:custGeom>
        </p:spPr>
        <p:txBody>
          <a:bodyPr wrap="square" tIns="194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8488645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6323863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85401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5D6D6C5-CEB3-FB89-6D9A-B0A273B925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9656" y="-19673"/>
            <a:ext cx="5070048" cy="5336392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CFC86E9-48B2-3D53-0A9F-F667B5FC36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44759" y="1505248"/>
            <a:ext cx="4047241" cy="5352752"/>
          </a:xfrm>
          <a:custGeom>
            <a:avLst/>
            <a:gdLst>
              <a:gd name="connsiteX0" fmla="*/ 1418483 w 3131916"/>
              <a:gd name="connsiteY0" fmla="*/ 3 h 4142173"/>
              <a:gd name="connsiteX1" fmla="*/ 1609547 w 3131916"/>
              <a:gd name="connsiteY1" fmla="*/ 25640 h 4142173"/>
              <a:gd name="connsiteX2" fmla="*/ 3131916 w 3131916"/>
              <a:gd name="connsiteY2" fmla="*/ 435819 h 4142173"/>
              <a:gd name="connsiteX3" fmla="*/ 3131916 w 3131916"/>
              <a:gd name="connsiteY3" fmla="*/ 3756555 h 4142173"/>
              <a:gd name="connsiteX4" fmla="*/ 2883917 w 3131916"/>
              <a:gd name="connsiteY4" fmla="*/ 4004628 h 4142173"/>
              <a:gd name="connsiteX5" fmla="*/ 2747641 w 3131916"/>
              <a:gd name="connsiteY5" fmla="*/ 4142173 h 4142173"/>
              <a:gd name="connsiteX6" fmla="*/ 209949 w 3131916"/>
              <a:gd name="connsiteY6" fmla="*/ 4140945 h 4142173"/>
              <a:gd name="connsiteX7" fmla="*/ 87177 w 3131916"/>
              <a:gd name="connsiteY7" fmla="*/ 3680414 h 4142173"/>
              <a:gd name="connsiteX8" fmla="*/ 29474 w 3131916"/>
              <a:gd name="connsiteY8" fmla="*/ 3465499 h 4142173"/>
              <a:gd name="connsiteX9" fmla="*/ 28246 w 3131916"/>
              <a:gd name="connsiteY9" fmla="*/ 3459359 h 4142173"/>
              <a:gd name="connsiteX10" fmla="*/ 25791 w 3131916"/>
              <a:gd name="connsiteY10" fmla="*/ 3449534 h 4142173"/>
              <a:gd name="connsiteX11" fmla="*/ 25791 w 3131916"/>
              <a:gd name="connsiteY11" fmla="*/ 3061460 h 4142173"/>
              <a:gd name="connsiteX12" fmla="*/ 542660 w 3131916"/>
              <a:gd name="connsiteY12" fmla="*/ 2535841 h 4142173"/>
              <a:gd name="connsiteX13" fmla="*/ 564759 w 3131916"/>
              <a:gd name="connsiteY13" fmla="*/ 2529700 h 4142173"/>
              <a:gd name="connsiteX14" fmla="*/ 1081628 w 3131916"/>
              <a:gd name="connsiteY14" fmla="*/ 2002853 h 4142173"/>
              <a:gd name="connsiteX15" fmla="*/ 896243 w 3131916"/>
              <a:gd name="connsiteY15" fmla="*/ 1286881 h 4142173"/>
              <a:gd name="connsiteX16" fmla="*/ 880282 w 3131916"/>
              <a:gd name="connsiteY16" fmla="*/ 1270916 h 4142173"/>
              <a:gd name="connsiteX17" fmla="*/ 694897 w 3131916"/>
              <a:gd name="connsiteY17" fmla="*/ 554943 h 4142173"/>
              <a:gd name="connsiteX18" fmla="*/ 1211766 w 3131916"/>
              <a:gd name="connsiteY18" fmla="*/ 29324 h 4142173"/>
              <a:gd name="connsiteX19" fmla="*/ 1233865 w 3131916"/>
              <a:gd name="connsiteY19" fmla="*/ 23183 h 4142173"/>
              <a:gd name="connsiteX20" fmla="*/ 1418483 w 3131916"/>
              <a:gd name="connsiteY20" fmla="*/ 3 h 4142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131916" h="4142173">
                <a:moveTo>
                  <a:pt x="1418483" y="3"/>
                </a:moveTo>
                <a:cubicBezTo>
                  <a:pt x="1481557" y="157"/>
                  <a:pt x="1545706" y="8446"/>
                  <a:pt x="1609547" y="25640"/>
                </a:cubicBezTo>
                <a:cubicBezTo>
                  <a:pt x="3131916" y="435819"/>
                  <a:pt x="3131916" y="435819"/>
                  <a:pt x="3131916" y="435819"/>
                </a:cubicBezTo>
                <a:cubicBezTo>
                  <a:pt x="3131916" y="3756555"/>
                  <a:pt x="3131916" y="3756555"/>
                  <a:pt x="3131916" y="3756555"/>
                </a:cubicBezTo>
                <a:cubicBezTo>
                  <a:pt x="3049659" y="3838837"/>
                  <a:pt x="2966174" y="3922346"/>
                  <a:pt x="2883917" y="4004628"/>
                </a:cubicBezTo>
                <a:cubicBezTo>
                  <a:pt x="2838492" y="4050067"/>
                  <a:pt x="2793066" y="4096734"/>
                  <a:pt x="2747641" y="4142173"/>
                </a:cubicBezTo>
                <a:lnTo>
                  <a:pt x="209949" y="4140945"/>
                </a:lnTo>
                <a:cubicBezTo>
                  <a:pt x="176800" y="4013224"/>
                  <a:pt x="141196" y="3880591"/>
                  <a:pt x="87177" y="3680414"/>
                </a:cubicBezTo>
                <a:cubicBezTo>
                  <a:pt x="69989" y="3616554"/>
                  <a:pt x="51573" y="3545325"/>
                  <a:pt x="29474" y="3465499"/>
                </a:cubicBezTo>
                <a:cubicBezTo>
                  <a:pt x="29474" y="3463043"/>
                  <a:pt x="28246" y="3461815"/>
                  <a:pt x="28246" y="3459359"/>
                </a:cubicBezTo>
                <a:cubicBezTo>
                  <a:pt x="27019" y="3456903"/>
                  <a:pt x="27019" y="3453219"/>
                  <a:pt x="25791" y="3449534"/>
                </a:cubicBezTo>
                <a:cubicBezTo>
                  <a:pt x="-7357" y="3326726"/>
                  <a:pt x="-9813" y="3194093"/>
                  <a:pt x="25791" y="3061460"/>
                </a:cubicBezTo>
                <a:cubicBezTo>
                  <a:pt x="95771" y="2798650"/>
                  <a:pt x="298344" y="2605841"/>
                  <a:pt x="542660" y="2535841"/>
                </a:cubicBezTo>
                <a:cubicBezTo>
                  <a:pt x="550026" y="2533385"/>
                  <a:pt x="557393" y="2530928"/>
                  <a:pt x="564759" y="2529700"/>
                </a:cubicBezTo>
                <a:cubicBezTo>
                  <a:pt x="809075" y="2459700"/>
                  <a:pt x="1010420" y="2265663"/>
                  <a:pt x="1081628" y="2002853"/>
                </a:cubicBezTo>
                <a:cubicBezTo>
                  <a:pt x="1151608" y="1738815"/>
                  <a:pt x="1073034" y="1469865"/>
                  <a:pt x="896243" y="1286881"/>
                </a:cubicBezTo>
                <a:cubicBezTo>
                  <a:pt x="891332" y="1281968"/>
                  <a:pt x="885193" y="1275828"/>
                  <a:pt x="880282" y="1270916"/>
                </a:cubicBezTo>
                <a:cubicBezTo>
                  <a:pt x="703491" y="1087931"/>
                  <a:pt x="624917" y="818981"/>
                  <a:pt x="694897" y="554943"/>
                </a:cubicBezTo>
                <a:cubicBezTo>
                  <a:pt x="764877" y="292133"/>
                  <a:pt x="967450" y="99324"/>
                  <a:pt x="1211766" y="29324"/>
                </a:cubicBezTo>
                <a:cubicBezTo>
                  <a:pt x="1219132" y="26867"/>
                  <a:pt x="1226499" y="24411"/>
                  <a:pt x="1233865" y="23183"/>
                </a:cubicBezTo>
                <a:cubicBezTo>
                  <a:pt x="1293410" y="7832"/>
                  <a:pt x="1355409" y="-150"/>
                  <a:pt x="1418483" y="3"/>
                </a:cubicBezTo>
                <a:close/>
              </a:path>
            </a:pathLst>
          </a:custGeom>
        </p:spPr>
        <p:txBody>
          <a:bodyPr wrap="square" tIns="302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11509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Lin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6314436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85401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FC13C5-CFBC-B0CC-42D5-40CF54A74B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10649" y="-18854"/>
            <a:ext cx="2512383" cy="6886280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2378692-F476-191D-0929-9335418A77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90355" y="2295488"/>
            <a:ext cx="5701645" cy="4562512"/>
          </a:xfrm>
          <a:custGeom>
            <a:avLst/>
            <a:gdLst>
              <a:gd name="connsiteX0" fmla="*/ 5126501 w 6517261"/>
              <a:gd name="connsiteY0" fmla="*/ 564 h 5215176"/>
              <a:gd name="connsiteX1" fmla="*/ 5470945 w 6517261"/>
              <a:gd name="connsiteY1" fmla="*/ 26343 h 5215176"/>
              <a:gd name="connsiteX2" fmla="*/ 6301470 w 6517261"/>
              <a:gd name="connsiteY2" fmla="*/ 421579 h 5215176"/>
              <a:gd name="connsiteX3" fmla="*/ 6517261 w 6517261"/>
              <a:gd name="connsiteY3" fmla="*/ 602880 h 5215176"/>
              <a:gd name="connsiteX4" fmla="*/ 6517261 w 6517261"/>
              <a:gd name="connsiteY4" fmla="*/ 5215176 h 5215176"/>
              <a:gd name="connsiteX5" fmla="*/ 0 w 6517261"/>
              <a:gd name="connsiteY5" fmla="*/ 5204298 h 5215176"/>
              <a:gd name="connsiteX6" fmla="*/ 36268 w 6517261"/>
              <a:gd name="connsiteY6" fmla="*/ 5162599 h 5215176"/>
              <a:gd name="connsiteX7" fmla="*/ 1635662 w 6517261"/>
              <a:gd name="connsiteY7" fmla="*/ 4595127 h 5215176"/>
              <a:gd name="connsiteX8" fmla="*/ 3236870 w 6517261"/>
              <a:gd name="connsiteY8" fmla="*/ 4027655 h 5215176"/>
              <a:gd name="connsiteX9" fmla="*/ 3271324 w 6517261"/>
              <a:gd name="connsiteY9" fmla="*/ 3985956 h 5215176"/>
              <a:gd name="connsiteX10" fmla="*/ 3630372 w 6517261"/>
              <a:gd name="connsiteY10" fmla="*/ 3199109 h 5215176"/>
              <a:gd name="connsiteX11" fmla="*/ 3563277 w 6517261"/>
              <a:gd name="connsiteY11" fmla="*/ 2336117 h 5215176"/>
              <a:gd name="connsiteX12" fmla="*/ 3545143 w 6517261"/>
              <a:gd name="connsiteY12" fmla="*/ 2285353 h 5215176"/>
              <a:gd name="connsiteX13" fmla="*/ 3476235 w 6517261"/>
              <a:gd name="connsiteY13" fmla="*/ 1422360 h 5215176"/>
              <a:gd name="connsiteX14" fmla="*/ 3835283 w 6517261"/>
              <a:gd name="connsiteY14" fmla="*/ 635514 h 5215176"/>
              <a:gd name="connsiteX15" fmla="*/ 3869737 w 6517261"/>
              <a:gd name="connsiteY15" fmla="*/ 593815 h 5215176"/>
              <a:gd name="connsiteX16" fmla="*/ 5126501 w 6517261"/>
              <a:gd name="connsiteY16" fmla="*/ 564 h 521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517261" h="5215176">
                <a:moveTo>
                  <a:pt x="5126501" y="564"/>
                </a:moveTo>
                <a:cubicBezTo>
                  <a:pt x="5239762" y="-2340"/>
                  <a:pt x="5355003" y="5946"/>
                  <a:pt x="5470945" y="26343"/>
                </a:cubicBezTo>
                <a:cubicBezTo>
                  <a:pt x="5790099" y="82546"/>
                  <a:pt x="6072985" y="223961"/>
                  <a:pt x="6301470" y="421579"/>
                </a:cubicBezTo>
                <a:cubicBezTo>
                  <a:pt x="6517261" y="602880"/>
                  <a:pt x="6517261" y="602880"/>
                  <a:pt x="6517261" y="602880"/>
                </a:cubicBezTo>
                <a:cubicBezTo>
                  <a:pt x="6517261" y="5215176"/>
                  <a:pt x="6517261" y="5215176"/>
                  <a:pt x="6517261" y="5215176"/>
                </a:cubicBezTo>
                <a:lnTo>
                  <a:pt x="0" y="5204298"/>
                </a:lnTo>
                <a:cubicBezTo>
                  <a:pt x="12694" y="5191607"/>
                  <a:pt x="25387" y="5177103"/>
                  <a:pt x="36268" y="5162599"/>
                </a:cubicBezTo>
                <a:cubicBezTo>
                  <a:pt x="418889" y="4722038"/>
                  <a:pt x="1019116" y="4486346"/>
                  <a:pt x="1635662" y="4595127"/>
                </a:cubicBezTo>
                <a:cubicBezTo>
                  <a:pt x="2254022" y="4703908"/>
                  <a:pt x="2854249" y="4468216"/>
                  <a:pt x="3236870" y="4027655"/>
                </a:cubicBezTo>
                <a:cubicBezTo>
                  <a:pt x="3249564" y="4013151"/>
                  <a:pt x="3260444" y="3998647"/>
                  <a:pt x="3271324" y="3985956"/>
                </a:cubicBezTo>
                <a:cubicBezTo>
                  <a:pt x="3450848" y="3764768"/>
                  <a:pt x="3577784" y="3498256"/>
                  <a:pt x="3630372" y="3199109"/>
                </a:cubicBezTo>
                <a:cubicBezTo>
                  <a:pt x="3684773" y="2899963"/>
                  <a:pt x="3655759" y="2604442"/>
                  <a:pt x="3563277" y="2336117"/>
                </a:cubicBezTo>
                <a:cubicBezTo>
                  <a:pt x="3557837" y="2319800"/>
                  <a:pt x="3550584" y="2301670"/>
                  <a:pt x="3545143" y="2285353"/>
                </a:cubicBezTo>
                <a:cubicBezTo>
                  <a:pt x="3450848" y="2017027"/>
                  <a:pt x="3423648" y="1721507"/>
                  <a:pt x="3476235" y="1422360"/>
                </a:cubicBezTo>
                <a:cubicBezTo>
                  <a:pt x="3528823" y="1123214"/>
                  <a:pt x="3655759" y="856701"/>
                  <a:pt x="3835283" y="635514"/>
                </a:cubicBezTo>
                <a:cubicBezTo>
                  <a:pt x="3846163" y="622823"/>
                  <a:pt x="3858857" y="608319"/>
                  <a:pt x="3869737" y="593815"/>
                </a:cubicBezTo>
                <a:cubicBezTo>
                  <a:pt x="4182091" y="235859"/>
                  <a:pt x="4635703" y="13149"/>
                  <a:pt x="5126501" y="564"/>
                </a:cubicBezTo>
                <a:close/>
              </a:path>
            </a:pathLst>
          </a:custGeom>
        </p:spPr>
        <p:txBody>
          <a:bodyPr wrap="square" tIns="2124000" rIns="720000">
            <a:noAutofit/>
          </a:bodyPr>
          <a:lstStyle>
            <a:lvl1pPr algn="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799975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Lin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85401" cy="36905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4DBF4E3-3CDA-4186-ACE9-C9E3E48A7D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07691" y="3225734"/>
            <a:ext cx="3700020" cy="3638432"/>
          </a:xfrm>
          <a:prstGeom prst="rect">
            <a:avLst/>
          </a:prstGeom>
        </p:spPr>
      </p:pic>
      <p:sp>
        <p:nvSpPr>
          <p:cNvPr id="81" name="Picture Placeholder 80">
            <a:extLst>
              <a:ext uri="{FF2B5EF4-FFF2-40B4-BE49-F238E27FC236}">
                <a16:creationId xmlns:a16="http://schemas.microsoft.com/office/drawing/2014/main" id="{C7D107F3-8017-8423-432E-1E0F00B32E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5133" y="1020497"/>
            <a:ext cx="5128181" cy="4669927"/>
          </a:xfrm>
          <a:custGeom>
            <a:avLst/>
            <a:gdLst>
              <a:gd name="connsiteX0" fmla="*/ 1809574 w 5385357"/>
              <a:gd name="connsiteY0" fmla="*/ 53 h 4904122"/>
              <a:gd name="connsiteX1" fmla="*/ 3574116 w 5385357"/>
              <a:gd name="connsiteY1" fmla="*/ 53 h 4904122"/>
              <a:gd name="connsiteX2" fmla="*/ 4026092 w 5385357"/>
              <a:gd name="connsiteY2" fmla="*/ 113448 h 4904122"/>
              <a:gd name="connsiteX3" fmla="*/ 4027760 w 5385357"/>
              <a:gd name="connsiteY3" fmla="*/ 113448 h 4904122"/>
              <a:gd name="connsiteX4" fmla="*/ 4081130 w 5385357"/>
              <a:gd name="connsiteY4" fmla="*/ 146800 h 4904122"/>
              <a:gd name="connsiteX5" fmla="*/ 4084466 w 5385357"/>
              <a:gd name="connsiteY5" fmla="*/ 148468 h 4904122"/>
              <a:gd name="connsiteX6" fmla="*/ 4087801 w 5385357"/>
              <a:gd name="connsiteY6" fmla="*/ 150135 h 4904122"/>
              <a:gd name="connsiteX7" fmla="*/ 4089469 w 5385357"/>
              <a:gd name="connsiteY7" fmla="*/ 151803 h 4904122"/>
              <a:gd name="connsiteX8" fmla="*/ 4094473 w 5385357"/>
              <a:gd name="connsiteY8" fmla="*/ 155138 h 4904122"/>
              <a:gd name="connsiteX9" fmla="*/ 4096140 w 5385357"/>
              <a:gd name="connsiteY9" fmla="*/ 156806 h 4904122"/>
              <a:gd name="connsiteX10" fmla="*/ 4367993 w 5385357"/>
              <a:gd name="connsiteY10" fmla="*/ 448633 h 4904122"/>
              <a:gd name="connsiteX11" fmla="*/ 5265275 w 5385357"/>
              <a:gd name="connsiteY11" fmla="*/ 2002820 h 4904122"/>
              <a:gd name="connsiteX12" fmla="*/ 5380353 w 5385357"/>
              <a:gd name="connsiteY12" fmla="*/ 2356347 h 4904122"/>
              <a:gd name="connsiteX13" fmla="*/ 5380353 w 5385357"/>
              <a:gd name="connsiteY13" fmla="*/ 2358015 h 4904122"/>
              <a:gd name="connsiteX14" fmla="*/ 5380353 w 5385357"/>
              <a:gd name="connsiteY14" fmla="*/ 2363018 h 4904122"/>
              <a:gd name="connsiteX15" fmla="*/ 5382021 w 5385357"/>
              <a:gd name="connsiteY15" fmla="*/ 2366353 h 4904122"/>
              <a:gd name="connsiteX16" fmla="*/ 5382021 w 5385357"/>
              <a:gd name="connsiteY16" fmla="*/ 2369688 h 4904122"/>
              <a:gd name="connsiteX17" fmla="*/ 5382021 w 5385357"/>
              <a:gd name="connsiteY17" fmla="*/ 2374691 h 4904122"/>
              <a:gd name="connsiteX18" fmla="*/ 5382021 w 5385357"/>
              <a:gd name="connsiteY18" fmla="*/ 2376358 h 4904122"/>
              <a:gd name="connsiteX19" fmla="*/ 5385357 w 5385357"/>
              <a:gd name="connsiteY19" fmla="*/ 2466408 h 4904122"/>
              <a:gd name="connsiteX20" fmla="*/ 5382021 w 5385357"/>
              <a:gd name="connsiteY20" fmla="*/ 2533111 h 4904122"/>
              <a:gd name="connsiteX21" fmla="*/ 5380353 w 5385357"/>
              <a:gd name="connsiteY21" fmla="*/ 2541449 h 4904122"/>
              <a:gd name="connsiteX22" fmla="*/ 5380353 w 5385357"/>
              <a:gd name="connsiteY22" fmla="*/ 2548119 h 4904122"/>
              <a:gd name="connsiteX23" fmla="*/ 5378686 w 5385357"/>
              <a:gd name="connsiteY23" fmla="*/ 2554790 h 4904122"/>
              <a:gd name="connsiteX24" fmla="*/ 5378686 w 5385357"/>
              <a:gd name="connsiteY24" fmla="*/ 2556457 h 4904122"/>
              <a:gd name="connsiteX25" fmla="*/ 5378686 w 5385357"/>
              <a:gd name="connsiteY25" fmla="*/ 2561460 h 4904122"/>
              <a:gd name="connsiteX26" fmla="*/ 5378686 w 5385357"/>
              <a:gd name="connsiteY26" fmla="*/ 2564795 h 4904122"/>
              <a:gd name="connsiteX27" fmla="*/ 5377018 w 5385357"/>
              <a:gd name="connsiteY27" fmla="*/ 2568130 h 4904122"/>
              <a:gd name="connsiteX28" fmla="*/ 5377018 w 5385357"/>
              <a:gd name="connsiteY28" fmla="*/ 2571466 h 4904122"/>
              <a:gd name="connsiteX29" fmla="*/ 5377018 w 5385357"/>
              <a:gd name="connsiteY29" fmla="*/ 2576468 h 4904122"/>
              <a:gd name="connsiteX30" fmla="*/ 5377018 w 5385357"/>
              <a:gd name="connsiteY30" fmla="*/ 2578136 h 4904122"/>
              <a:gd name="connsiteX31" fmla="*/ 5375350 w 5385357"/>
              <a:gd name="connsiteY31" fmla="*/ 2583139 h 4904122"/>
              <a:gd name="connsiteX32" fmla="*/ 5375350 w 5385357"/>
              <a:gd name="connsiteY32" fmla="*/ 2586474 h 4904122"/>
              <a:gd name="connsiteX33" fmla="*/ 5375350 w 5385357"/>
              <a:gd name="connsiteY33" fmla="*/ 2589809 h 4904122"/>
              <a:gd name="connsiteX34" fmla="*/ 5373683 w 5385357"/>
              <a:gd name="connsiteY34" fmla="*/ 2593144 h 4904122"/>
              <a:gd name="connsiteX35" fmla="*/ 5373683 w 5385357"/>
              <a:gd name="connsiteY35" fmla="*/ 2596479 h 4904122"/>
              <a:gd name="connsiteX36" fmla="*/ 5373683 w 5385357"/>
              <a:gd name="connsiteY36" fmla="*/ 2599814 h 4904122"/>
              <a:gd name="connsiteX37" fmla="*/ 5372015 w 5385357"/>
              <a:gd name="connsiteY37" fmla="*/ 2603150 h 4904122"/>
              <a:gd name="connsiteX38" fmla="*/ 5372015 w 5385357"/>
              <a:gd name="connsiteY38" fmla="*/ 2608152 h 4904122"/>
              <a:gd name="connsiteX39" fmla="*/ 5372015 w 5385357"/>
              <a:gd name="connsiteY39" fmla="*/ 2609820 h 4904122"/>
              <a:gd name="connsiteX40" fmla="*/ 5370347 w 5385357"/>
              <a:gd name="connsiteY40" fmla="*/ 2614823 h 4904122"/>
              <a:gd name="connsiteX41" fmla="*/ 5370347 w 5385357"/>
              <a:gd name="connsiteY41" fmla="*/ 2616490 h 4904122"/>
              <a:gd name="connsiteX42" fmla="*/ 5256935 w 5385357"/>
              <a:gd name="connsiteY42" fmla="*/ 2914988 h 4904122"/>
              <a:gd name="connsiteX43" fmla="*/ 4374665 w 5385357"/>
              <a:gd name="connsiteY43" fmla="*/ 4442494 h 4904122"/>
              <a:gd name="connsiteX44" fmla="*/ 4039435 w 5385357"/>
              <a:gd name="connsiteY44" fmla="*/ 4784348 h 4904122"/>
              <a:gd name="connsiteX45" fmla="*/ 3310602 w 5385357"/>
              <a:gd name="connsiteY45" fmla="*/ 4859389 h 4904122"/>
              <a:gd name="connsiteX46" fmla="*/ 3290588 w 5385357"/>
              <a:gd name="connsiteY46" fmla="*/ 4852719 h 4904122"/>
              <a:gd name="connsiteX47" fmla="*/ 3288921 w 5385357"/>
              <a:gd name="connsiteY47" fmla="*/ 4851052 h 4904122"/>
              <a:gd name="connsiteX48" fmla="*/ 3283917 w 5385357"/>
              <a:gd name="connsiteY48" fmla="*/ 4849384 h 4904122"/>
              <a:gd name="connsiteX49" fmla="*/ 3282249 w 5385357"/>
              <a:gd name="connsiteY49" fmla="*/ 4849384 h 4904122"/>
              <a:gd name="connsiteX50" fmla="*/ 3272242 w 5385357"/>
              <a:gd name="connsiteY50" fmla="*/ 4846049 h 4904122"/>
              <a:gd name="connsiteX51" fmla="*/ 3268907 w 5385357"/>
              <a:gd name="connsiteY51" fmla="*/ 4844381 h 4904122"/>
              <a:gd name="connsiteX52" fmla="*/ 3263903 w 5385357"/>
              <a:gd name="connsiteY52" fmla="*/ 4842714 h 4904122"/>
              <a:gd name="connsiteX53" fmla="*/ 3258900 w 5385357"/>
              <a:gd name="connsiteY53" fmla="*/ 4841046 h 4904122"/>
              <a:gd name="connsiteX54" fmla="*/ 3253897 w 5385357"/>
              <a:gd name="connsiteY54" fmla="*/ 4837711 h 4904122"/>
              <a:gd name="connsiteX55" fmla="*/ 3248893 w 5385357"/>
              <a:gd name="connsiteY55" fmla="*/ 4836043 h 4904122"/>
              <a:gd name="connsiteX56" fmla="*/ 3243890 w 5385357"/>
              <a:gd name="connsiteY56" fmla="*/ 4834376 h 4904122"/>
              <a:gd name="connsiteX57" fmla="*/ 3237218 w 5385357"/>
              <a:gd name="connsiteY57" fmla="*/ 4831041 h 4904122"/>
              <a:gd name="connsiteX58" fmla="*/ 3233883 w 5385357"/>
              <a:gd name="connsiteY58" fmla="*/ 4829373 h 4904122"/>
              <a:gd name="connsiteX59" fmla="*/ 3227212 w 5385357"/>
              <a:gd name="connsiteY59" fmla="*/ 4827705 h 4904122"/>
              <a:gd name="connsiteX60" fmla="*/ 3225544 w 5385357"/>
              <a:gd name="connsiteY60" fmla="*/ 4826038 h 4904122"/>
              <a:gd name="connsiteX61" fmla="*/ 3217205 w 5385357"/>
              <a:gd name="connsiteY61" fmla="*/ 4822703 h 4904122"/>
              <a:gd name="connsiteX62" fmla="*/ 3215537 w 5385357"/>
              <a:gd name="connsiteY62" fmla="*/ 4821035 h 4904122"/>
              <a:gd name="connsiteX63" fmla="*/ 3207198 w 5385357"/>
              <a:gd name="connsiteY63" fmla="*/ 4817700 h 4904122"/>
              <a:gd name="connsiteX64" fmla="*/ 3205530 w 5385357"/>
              <a:gd name="connsiteY64" fmla="*/ 4817700 h 4904122"/>
              <a:gd name="connsiteX65" fmla="*/ 3197191 w 5385357"/>
              <a:gd name="connsiteY65" fmla="*/ 4812697 h 4904122"/>
              <a:gd name="connsiteX66" fmla="*/ 3195523 w 5385357"/>
              <a:gd name="connsiteY66" fmla="*/ 4812697 h 4904122"/>
              <a:gd name="connsiteX67" fmla="*/ 3187184 w 5385357"/>
              <a:gd name="connsiteY67" fmla="*/ 4807694 h 4904122"/>
              <a:gd name="connsiteX68" fmla="*/ 3177177 w 5385357"/>
              <a:gd name="connsiteY68" fmla="*/ 4802692 h 4904122"/>
              <a:gd name="connsiteX69" fmla="*/ 3153828 w 5385357"/>
              <a:gd name="connsiteY69" fmla="*/ 4791019 h 4904122"/>
              <a:gd name="connsiteX70" fmla="*/ 3077109 w 5385357"/>
              <a:gd name="connsiteY70" fmla="*/ 4742659 h 4904122"/>
              <a:gd name="connsiteX71" fmla="*/ 3073773 w 5385357"/>
              <a:gd name="connsiteY71" fmla="*/ 4739323 h 4904122"/>
              <a:gd name="connsiteX72" fmla="*/ 3068770 w 5385357"/>
              <a:gd name="connsiteY72" fmla="*/ 4735988 h 4904122"/>
              <a:gd name="connsiteX73" fmla="*/ 3065434 w 5385357"/>
              <a:gd name="connsiteY73" fmla="*/ 4734321 h 4904122"/>
              <a:gd name="connsiteX74" fmla="*/ 3058763 w 5385357"/>
              <a:gd name="connsiteY74" fmla="*/ 4729318 h 4904122"/>
              <a:gd name="connsiteX75" fmla="*/ 3057095 w 5385357"/>
              <a:gd name="connsiteY75" fmla="*/ 4727650 h 4904122"/>
              <a:gd name="connsiteX76" fmla="*/ 2813595 w 5385357"/>
              <a:gd name="connsiteY76" fmla="*/ 4455834 h 4904122"/>
              <a:gd name="connsiteX77" fmla="*/ 2695180 w 5385357"/>
              <a:gd name="connsiteY77" fmla="*/ 4072290 h 4904122"/>
              <a:gd name="connsiteX78" fmla="*/ 2695180 w 5385357"/>
              <a:gd name="connsiteY78" fmla="*/ 4065620 h 4904122"/>
              <a:gd name="connsiteX79" fmla="*/ 2695180 w 5385357"/>
              <a:gd name="connsiteY79" fmla="*/ 4063952 h 4904122"/>
              <a:gd name="connsiteX80" fmla="*/ 2693513 w 5385357"/>
              <a:gd name="connsiteY80" fmla="*/ 4060617 h 4904122"/>
              <a:gd name="connsiteX81" fmla="*/ 2693513 w 5385357"/>
              <a:gd name="connsiteY81" fmla="*/ 4055614 h 4904122"/>
              <a:gd name="connsiteX82" fmla="*/ 2693513 w 5385357"/>
              <a:gd name="connsiteY82" fmla="*/ 4053947 h 4904122"/>
              <a:gd name="connsiteX83" fmla="*/ 2693513 w 5385357"/>
              <a:gd name="connsiteY83" fmla="*/ 3993914 h 4904122"/>
              <a:gd name="connsiteX84" fmla="*/ 2693513 w 5385357"/>
              <a:gd name="connsiteY84" fmla="*/ 3992246 h 4904122"/>
              <a:gd name="connsiteX85" fmla="*/ 2571762 w 5385357"/>
              <a:gd name="connsiteY85" fmla="*/ 3557007 h 4904122"/>
              <a:gd name="connsiteX86" fmla="*/ 2256546 w 5385357"/>
              <a:gd name="connsiteY86" fmla="*/ 3236831 h 4904122"/>
              <a:gd name="connsiteX87" fmla="*/ 2231529 w 5385357"/>
              <a:gd name="connsiteY87" fmla="*/ 3221823 h 4904122"/>
              <a:gd name="connsiteX88" fmla="*/ 1349258 w 5385357"/>
              <a:gd name="connsiteY88" fmla="*/ 3228493 h 4904122"/>
              <a:gd name="connsiteX89" fmla="*/ 1345922 w 5385357"/>
              <a:gd name="connsiteY89" fmla="*/ 3230161 h 4904122"/>
              <a:gd name="connsiteX90" fmla="*/ 1299224 w 5385357"/>
              <a:gd name="connsiteY90" fmla="*/ 3255175 h 4904122"/>
              <a:gd name="connsiteX91" fmla="*/ 1279210 w 5385357"/>
              <a:gd name="connsiteY91" fmla="*/ 3265180 h 4904122"/>
              <a:gd name="connsiteX92" fmla="*/ 1259196 w 5385357"/>
              <a:gd name="connsiteY92" fmla="*/ 3273518 h 4904122"/>
              <a:gd name="connsiteX93" fmla="*/ 1237515 w 5385357"/>
              <a:gd name="connsiteY93" fmla="*/ 3283523 h 4904122"/>
              <a:gd name="connsiteX94" fmla="*/ 1217501 w 5385357"/>
              <a:gd name="connsiteY94" fmla="*/ 3290194 h 4904122"/>
              <a:gd name="connsiteX95" fmla="*/ 1195820 w 5385357"/>
              <a:gd name="connsiteY95" fmla="*/ 3298532 h 4904122"/>
              <a:gd name="connsiteX96" fmla="*/ 1175806 w 5385357"/>
              <a:gd name="connsiteY96" fmla="*/ 3305202 h 4904122"/>
              <a:gd name="connsiteX97" fmla="*/ 840576 w 5385357"/>
              <a:gd name="connsiteY97" fmla="*/ 3348559 h 4904122"/>
              <a:gd name="connsiteX98" fmla="*/ 818895 w 5385357"/>
              <a:gd name="connsiteY98" fmla="*/ 3346892 h 4904122"/>
              <a:gd name="connsiteX99" fmla="*/ 798881 w 5385357"/>
              <a:gd name="connsiteY99" fmla="*/ 3343556 h 4904122"/>
              <a:gd name="connsiteX100" fmla="*/ 797213 w 5385357"/>
              <a:gd name="connsiteY100" fmla="*/ 3343556 h 4904122"/>
              <a:gd name="connsiteX101" fmla="*/ 777199 w 5385357"/>
              <a:gd name="connsiteY101" fmla="*/ 3341889 h 4904122"/>
              <a:gd name="connsiteX102" fmla="*/ 775532 w 5385357"/>
              <a:gd name="connsiteY102" fmla="*/ 3341889 h 4904122"/>
              <a:gd name="connsiteX103" fmla="*/ 763857 w 5385357"/>
              <a:gd name="connsiteY103" fmla="*/ 3340221 h 4904122"/>
              <a:gd name="connsiteX104" fmla="*/ 762189 w 5385357"/>
              <a:gd name="connsiteY104" fmla="*/ 3338554 h 4904122"/>
              <a:gd name="connsiteX105" fmla="*/ 757186 w 5385357"/>
              <a:gd name="connsiteY105" fmla="*/ 3338554 h 4904122"/>
              <a:gd name="connsiteX106" fmla="*/ 753850 w 5385357"/>
              <a:gd name="connsiteY106" fmla="*/ 3338554 h 4904122"/>
              <a:gd name="connsiteX107" fmla="*/ 745511 w 5385357"/>
              <a:gd name="connsiteY107" fmla="*/ 3336886 h 4904122"/>
              <a:gd name="connsiteX108" fmla="*/ 740508 w 5385357"/>
              <a:gd name="connsiteY108" fmla="*/ 3335219 h 4904122"/>
              <a:gd name="connsiteX109" fmla="*/ 737172 w 5385357"/>
              <a:gd name="connsiteY109" fmla="*/ 3335219 h 4904122"/>
              <a:gd name="connsiteX110" fmla="*/ 732169 w 5385357"/>
              <a:gd name="connsiteY110" fmla="*/ 3333551 h 4904122"/>
              <a:gd name="connsiteX111" fmla="*/ 725497 w 5385357"/>
              <a:gd name="connsiteY111" fmla="*/ 3333551 h 4904122"/>
              <a:gd name="connsiteX112" fmla="*/ 720494 w 5385357"/>
              <a:gd name="connsiteY112" fmla="*/ 3331883 h 4904122"/>
              <a:gd name="connsiteX113" fmla="*/ 715491 w 5385357"/>
              <a:gd name="connsiteY113" fmla="*/ 3330216 h 4904122"/>
              <a:gd name="connsiteX114" fmla="*/ 710487 w 5385357"/>
              <a:gd name="connsiteY114" fmla="*/ 3330216 h 4904122"/>
              <a:gd name="connsiteX115" fmla="*/ 705484 w 5385357"/>
              <a:gd name="connsiteY115" fmla="*/ 3328548 h 4904122"/>
              <a:gd name="connsiteX116" fmla="*/ 698812 w 5385357"/>
              <a:gd name="connsiteY116" fmla="*/ 3326881 h 4904122"/>
              <a:gd name="connsiteX117" fmla="*/ 695477 w 5385357"/>
              <a:gd name="connsiteY117" fmla="*/ 3326881 h 4904122"/>
              <a:gd name="connsiteX118" fmla="*/ 687138 w 5385357"/>
              <a:gd name="connsiteY118" fmla="*/ 3325213 h 4904122"/>
              <a:gd name="connsiteX119" fmla="*/ 685470 w 5385357"/>
              <a:gd name="connsiteY119" fmla="*/ 3323545 h 4904122"/>
              <a:gd name="connsiteX120" fmla="*/ 677131 w 5385357"/>
              <a:gd name="connsiteY120" fmla="*/ 3321878 h 4904122"/>
              <a:gd name="connsiteX121" fmla="*/ 675463 w 5385357"/>
              <a:gd name="connsiteY121" fmla="*/ 3321878 h 4904122"/>
              <a:gd name="connsiteX122" fmla="*/ 655449 w 5385357"/>
              <a:gd name="connsiteY122" fmla="*/ 3316875 h 4904122"/>
              <a:gd name="connsiteX123" fmla="*/ 653782 w 5385357"/>
              <a:gd name="connsiteY123" fmla="*/ 3315208 h 4904122"/>
              <a:gd name="connsiteX124" fmla="*/ 633768 w 5385357"/>
              <a:gd name="connsiteY124" fmla="*/ 3310205 h 4904122"/>
              <a:gd name="connsiteX125" fmla="*/ 461984 w 5385357"/>
              <a:gd name="connsiteY125" fmla="*/ 3236831 h 4904122"/>
              <a:gd name="connsiteX126" fmla="*/ 460316 w 5385357"/>
              <a:gd name="connsiteY126" fmla="*/ 3235164 h 4904122"/>
              <a:gd name="connsiteX127" fmla="*/ 425292 w 5385357"/>
              <a:gd name="connsiteY127" fmla="*/ 3215153 h 4904122"/>
              <a:gd name="connsiteX128" fmla="*/ 423624 w 5385357"/>
              <a:gd name="connsiteY128" fmla="*/ 3213485 h 4904122"/>
              <a:gd name="connsiteX129" fmla="*/ 416953 w 5385357"/>
              <a:gd name="connsiteY129" fmla="*/ 3210150 h 4904122"/>
              <a:gd name="connsiteX130" fmla="*/ 411949 w 5385357"/>
              <a:gd name="connsiteY130" fmla="*/ 3206815 h 4904122"/>
              <a:gd name="connsiteX131" fmla="*/ 408613 w 5385357"/>
              <a:gd name="connsiteY131" fmla="*/ 3205147 h 4904122"/>
              <a:gd name="connsiteX132" fmla="*/ 120082 w 5385357"/>
              <a:gd name="connsiteY132" fmla="*/ 2901647 h 4904122"/>
              <a:gd name="connsiteX133" fmla="*/ 0 w 5385357"/>
              <a:gd name="connsiteY133" fmla="*/ 2468075 h 4904122"/>
              <a:gd name="connsiteX134" fmla="*/ 0 w 5385357"/>
              <a:gd name="connsiteY134" fmla="*/ 2439727 h 4904122"/>
              <a:gd name="connsiteX135" fmla="*/ 0 w 5385357"/>
              <a:gd name="connsiteY135" fmla="*/ 2438059 h 4904122"/>
              <a:gd name="connsiteX136" fmla="*/ 130090 w 5385357"/>
              <a:gd name="connsiteY136" fmla="*/ 1987812 h 4904122"/>
              <a:gd name="connsiteX137" fmla="*/ 1010693 w 5385357"/>
              <a:gd name="connsiteY137" fmla="*/ 461973 h 4904122"/>
              <a:gd name="connsiteX138" fmla="*/ 1012361 w 5385357"/>
              <a:gd name="connsiteY138" fmla="*/ 458638 h 4904122"/>
              <a:gd name="connsiteX139" fmla="*/ 1014028 w 5385357"/>
              <a:gd name="connsiteY139" fmla="*/ 455303 h 4904122"/>
              <a:gd name="connsiteX140" fmla="*/ 1019032 w 5385357"/>
              <a:gd name="connsiteY140" fmla="*/ 448633 h 4904122"/>
              <a:gd name="connsiteX141" fmla="*/ 1020700 w 5385357"/>
              <a:gd name="connsiteY141" fmla="*/ 445297 h 4904122"/>
              <a:gd name="connsiteX142" fmla="*/ 1024035 w 5385357"/>
              <a:gd name="connsiteY142" fmla="*/ 440295 h 4904122"/>
              <a:gd name="connsiteX143" fmla="*/ 1025703 w 5385357"/>
              <a:gd name="connsiteY143" fmla="*/ 436959 h 4904122"/>
              <a:gd name="connsiteX144" fmla="*/ 1029039 w 5385357"/>
              <a:gd name="connsiteY144" fmla="*/ 430289 h 4904122"/>
              <a:gd name="connsiteX145" fmla="*/ 1032374 w 5385357"/>
              <a:gd name="connsiteY145" fmla="*/ 426954 h 4904122"/>
              <a:gd name="connsiteX146" fmla="*/ 1034042 w 5385357"/>
              <a:gd name="connsiteY146" fmla="*/ 421951 h 4904122"/>
              <a:gd name="connsiteX147" fmla="*/ 1037378 w 5385357"/>
              <a:gd name="connsiteY147" fmla="*/ 418616 h 4904122"/>
              <a:gd name="connsiteX148" fmla="*/ 1040713 w 5385357"/>
              <a:gd name="connsiteY148" fmla="*/ 411946 h 4904122"/>
              <a:gd name="connsiteX149" fmla="*/ 1042381 w 5385357"/>
              <a:gd name="connsiteY149" fmla="*/ 408611 h 4904122"/>
              <a:gd name="connsiteX150" fmla="*/ 1047385 w 5385357"/>
              <a:gd name="connsiteY150" fmla="*/ 401940 h 4904122"/>
              <a:gd name="connsiteX151" fmla="*/ 1049052 w 5385357"/>
              <a:gd name="connsiteY151" fmla="*/ 400273 h 4904122"/>
              <a:gd name="connsiteX152" fmla="*/ 1052388 w 5385357"/>
              <a:gd name="connsiteY152" fmla="*/ 393602 h 4904122"/>
              <a:gd name="connsiteX153" fmla="*/ 1055724 w 5385357"/>
              <a:gd name="connsiteY153" fmla="*/ 390267 h 4904122"/>
              <a:gd name="connsiteX154" fmla="*/ 1059059 w 5385357"/>
              <a:gd name="connsiteY154" fmla="*/ 383597 h 4904122"/>
              <a:gd name="connsiteX155" fmla="*/ 1060727 w 5385357"/>
              <a:gd name="connsiteY155" fmla="*/ 381929 h 4904122"/>
              <a:gd name="connsiteX156" fmla="*/ 1065730 w 5385357"/>
              <a:gd name="connsiteY156" fmla="*/ 375259 h 4904122"/>
              <a:gd name="connsiteX157" fmla="*/ 1067398 w 5385357"/>
              <a:gd name="connsiteY157" fmla="*/ 373591 h 4904122"/>
              <a:gd name="connsiteX158" fmla="*/ 1072402 w 5385357"/>
              <a:gd name="connsiteY158" fmla="*/ 365253 h 4904122"/>
              <a:gd name="connsiteX159" fmla="*/ 1079073 w 5385357"/>
              <a:gd name="connsiteY159" fmla="*/ 356915 h 4904122"/>
              <a:gd name="connsiteX160" fmla="*/ 1080741 w 5385357"/>
              <a:gd name="connsiteY160" fmla="*/ 355248 h 4904122"/>
              <a:gd name="connsiteX161" fmla="*/ 1085744 w 5385357"/>
              <a:gd name="connsiteY161" fmla="*/ 346910 h 4904122"/>
              <a:gd name="connsiteX162" fmla="*/ 1092415 w 5385357"/>
              <a:gd name="connsiteY162" fmla="*/ 340240 h 4904122"/>
              <a:gd name="connsiteX163" fmla="*/ 1094083 w 5385357"/>
              <a:gd name="connsiteY163" fmla="*/ 338572 h 4904122"/>
              <a:gd name="connsiteX164" fmla="*/ 1105758 w 5385357"/>
              <a:gd name="connsiteY164" fmla="*/ 323564 h 4904122"/>
              <a:gd name="connsiteX165" fmla="*/ 1107426 w 5385357"/>
              <a:gd name="connsiteY165" fmla="*/ 321896 h 4904122"/>
              <a:gd name="connsiteX166" fmla="*/ 1120768 w 5385357"/>
              <a:gd name="connsiteY166" fmla="*/ 306888 h 4904122"/>
              <a:gd name="connsiteX167" fmla="*/ 1120768 w 5385357"/>
              <a:gd name="connsiteY167" fmla="*/ 305220 h 4904122"/>
              <a:gd name="connsiteX168" fmla="*/ 1135778 w 5385357"/>
              <a:gd name="connsiteY168" fmla="*/ 290212 h 4904122"/>
              <a:gd name="connsiteX169" fmla="*/ 1135778 w 5385357"/>
              <a:gd name="connsiteY169" fmla="*/ 288545 h 4904122"/>
              <a:gd name="connsiteX170" fmla="*/ 1150789 w 5385357"/>
              <a:gd name="connsiteY170" fmla="*/ 273536 h 4904122"/>
              <a:gd name="connsiteX171" fmla="*/ 1345922 w 5385357"/>
              <a:gd name="connsiteY171" fmla="*/ 120119 h 4904122"/>
              <a:gd name="connsiteX172" fmla="*/ 1512703 w 5385357"/>
              <a:gd name="connsiteY172" fmla="*/ 46745 h 4904122"/>
              <a:gd name="connsiteX173" fmla="*/ 1522710 w 5385357"/>
              <a:gd name="connsiteY173" fmla="*/ 43410 h 4904122"/>
              <a:gd name="connsiteX174" fmla="*/ 1532717 w 5385357"/>
              <a:gd name="connsiteY174" fmla="*/ 40075 h 4904122"/>
              <a:gd name="connsiteX175" fmla="*/ 1534385 w 5385357"/>
              <a:gd name="connsiteY175" fmla="*/ 40075 h 4904122"/>
              <a:gd name="connsiteX176" fmla="*/ 1542724 w 5385357"/>
              <a:gd name="connsiteY176" fmla="*/ 36739 h 4904122"/>
              <a:gd name="connsiteX177" fmla="*/ 1544392 w 5385357"/>
              <a:gd name="connsiteY177" fmla="*/ 36739 h 4904122"/>
              <a:gd name="connsiteX178" fmla="*/ 1554399 w 5385357"/>
              <a:gd name="connsiteY178" fmla="*/ 33404 h 4904122"/>
              <a:gd name="connsiteX179" fmla="*/ 1556066 w 5385357"/>
              <a:gd name="connsiteY179" fmla="*/ 33404 h 4904122"/>
              <a:gd name="connsiteX180" fmla="*/ 1564406 w 5385357"/>
              <a:gd name="connsiteY180" fmla="*/ 30069 h 4904122"/>
              <a:gd name="connsiteX181" fmla="*/ 1566073 w 5385357"/>
              <a:gd name="connsiteY181" fmla="*/ 30069 h 4904122"/>
              <a:gd name="connsiteX182" fmla="*/ 1576080 w 5385357"/>
              <a:gd name="connsiteY182" fmla="*/ 28402 h 4904122"/>
              <a:gd name="connsiteX183" fmla="*/ 1577748 w 5385357"/>
              <a:gd name="connsiteY183" fmla="*/ 26734 h 4904122"/>
              <a:gd name="connsiteX184" fmla="*/ 1586087 w 5385357"/>
              <a:gd name="connsiteY184" fmla="*/ 25067 h 4904122"/>
              <a:gd name="connsiteX185" fmla="*/ 1587755 w 5385357"/>
              <a:gd name="connsiteY185" fmla="*/ 25067 h 4904122"/>
              <a:gd name="connsiteX186" fmla="*/ 1596094 w 5385357"/>
              <a:gd name="connsiteY186" fmla="*/ 23399 h 4904122"/>
              <a:gd name="connsiteX187" fmla="*/ 1599430 w 5385357"/>
              <a:gd name="connsiteY187" fmla="*/ 21731 h 4904122"/>
              <a:gd name="connsiteX188" fmla="*/ 1604433 w 5385357"/>
              <a:gd name="connsiteY188" fmla="*/ 21731 h 4904122"/>
              <a:gd name="connsiteX189" fmla="*/ 1606101 w 5385357"/>
              <a:gd name="connsiteY189" fmla="*/ 20064 h 4904122"/>
              <a:gd name="connsiteX190" fmla="*/ 1609436 w 5385357"/>
              <a:gd name="connsiteY190" fmla="*/ 20064 h 4904122"/>
              <a:gd name="connsiteX191" fmla="*/ 1611104 w 5385357"/>
              <a:gd name="connsiteY191" fmla="*/ 20064 h 4904122"/>
              <a:gd name="connsiteX192" fmla="*/ 1617775 w 5385357"/>
              <a:gd name="connsiteY192" fmla="*/ 18396 h 4904122"/>
              <a:gd name="connsiteX193" fmla="*/ 1621111 w 5385357"/>
              <a:gd name="connsiteY193" fmla="*/ 16729 h 4904122"/>
              <a:gd name="connsiteX194" fmla="*/ 1624447 w 5385357"/>
              <a:gd name="connsiteY194" fmla="*/ 16729 h 4904122"/>
              <a:gd name="connsiteX195" fmla="*/ 1627782 w 5385357"/>
              <a:gd name="connsiteY195" fmla="*/ 16729 h 4904122"/>
              <a:gd name="connsiteX196" fmla="*/ 1632786 w 5385357"/>
              <a:gd name="connsiteY196" fmla="*/ 15061 h 4904122"/>
              <a:gd name="connsiteX197" fmla="*/ 1634454 w 5385357"/>
              <a:gd name="connsiteY197" fmla="*/ 15061 h 4904122"/>
              <a:gd name="connsiteX198" fmla="*/ 1639457 w 5385357"/>
              <a:gd name="connsiteY198" fmla="*/ 13393 h 4904122"/>
              <a:gd name="connsiteX199" fmla="*/ 1644460 w 5385357"/>
              <a:gd name="connsiteY199" fmla="*/ 13393 h 4904122"/>
              <a:gd name="connsiteX200" fmla="*/ 1646128 w 5385357"/>
              <a:gd name="connsiteY200" fmla="*/ 13393 h 4904122"/>
              <a:gd name="connsiteX201" fmla="*/ 1649464 w 5385357"/>
              <a:gd name="connsiteY201" fmla="*/ 11726 h 4904122"/>
              <a:gd name="connsiteX202" fmla="*/ 1654467 w 5385357"/>
              <a:gd name="connsiteY202" fmla="*/ 11726 h 4904122"/>
              <a:gd name="connsiteX203" fmla="*/ 1656135 w 5385357"/>
              <a:gd name="connsiteY203" fmla="*/ 11726 h 4904122"/>
              <a:gd name="connsiteX204" fmla="*/ 1659471 w 5385357"/>
              <a:gd name="connsiteY204" fmla="*/ 10058 h 4904122"/>
              <a:gd name="connsiteX205" fmla="*/ 1666142 w 5385357"/>
              <a:gd name="connsiteY205" fmla="*/ 10058 h 4904122"/>
              <a:gd name="connsiteX206" fmla="*/ 1667810 w 5385357"/>
              <a:gd name="connsiteY206" fmla="*/ 10058 h 4904122"/>
              <a:gd name="connsiteX207" fmla="*/ 1669478 w 5385357"/>
              <a:gd name="connsiteY207" fmla="*/ 8391 h 4904122"/>
              <a:gd name="connsiteX208" fmla="*/ 1676149 w 5385357"/>
              <a:gd name="connsiteY208" fmla="*/ 8391 h 4904122"/>
              <a:gd name="connsiteX209" fmla="*/ 1677817 w 5385357"/>
              <a:gd name="connsiteY209" fmla="*/ 8391 h 4904122"/>
              <a:gd name="connsiteX210" fmla="*/ 1679484 w 5385357"/>
              <a:gd name="connsiteY210" fmla="*/ 8391 h 4904122"/>
              <a:gd name="connsiteX211" fmla="*/ 1681152 w 5385357"/>
              <a:gd name="connsiteY211" fmla="*/ 8391 h 4904122"/>
              <a:gd name="connsiteX212" fmla="*/ 1687823 w 5385357"/>
              <a:gd name="connsiteY212" fmla="*/ 6723 h 4904122"/>
              <a:gd name="connsiteX213" fmla="*/ 1689491 w 5385357"/>
              <a:gd name="connsiteY213" fmla="*/ 6723 h 4904122"/>
              <a:gd name="connsiteX214" fmla="*/ 1691159 w 5385357"/>
              <a:gd name="connsiteY214" fmla="*/ 6723 h 4904122"/>
              <a:gd name="connsiteX215" fmla="*/ 1692827 w 5385357"/>
              <a:gd name="connsiteY215" fmla="*/ 6723 h 4904122"/>
              <a:gd name="connsiteX216" fmla="*/ 1699498 w 5385357"/>
              <a:gd name="connsiteY216" fmla="*/ 5055 h 4904122"/>
              <a:gd name="connsiteX217" fmla="*/ 1701166 w 5385357"/>
              <a:gd name="connsiteY217" fmla="*/ 5055 h 4904122"/>
              <a:gd name="connsiteX218" fmla="*/ 1702834 w 5385357"/>
              <a:gd name="connsiteY218" fmla="*/ 5055 h 4904122"/>
              <a:gd name="connsiteX219" fmla="*/ 1709505 w 5385357"/>
              <a:gd name="connsiteY219" fmla="*/ 5055 h 4904122"/>
              <a:gd name="connsiteX220" fmla="*/ 1722847 w 5385357"/>
              <a:gd name="connsiteY220" fmla="*/ 3388 h 4904122"/>
              <a:gd name="connsiteX221" fmla="*/ 1724515 w 5385357"/>
              <a:gd name="connsiteY221" fmla="*/ 3388 h 4904122"/>
              <a:gd name="connsiteX222" fmla="*/ 1744529 w 5385357"/>
              <a:gd name="connsiteY222" fmla="*/ 1720 h 4904122"/>
              <a:gd name="connsiteX223" fmla="*/ 1766210 w 5385357"/>
              <a:gd name="connsiteY223" fmla="*/ 1720 h 4904122"/>
              <a:gd name="connsiteX224" fmla="*/ 1809574 w 5385357"/>
              <a:gd name="connsiteY224" fmla="*/ 53 h 4904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5385357" h="4904122">
                <a:moveTo>
                  <a:pt x="1809574" y="53"/>
                </a:moveTo>
                <a:cubicBezTo>
                  <a:pt x="2686841" y="53"/>
                  <a:pt x="2698516" y="53"/>
                  <a:pt x="3574116" y="53"/>
                </a:cubicBezTo>
                <a:cubicBezTo>
                  <a:pt x="3732558" y="-1615"/>
                  <a:pt x="3889332" y="36739"/>
                  <a:pt x="4026092" y="113448"/>
                </a:cubicBezTo>
                <a:cubicBezTo>
                  <a:pt x="4027760" y="113448"/>
                  <a:pt x="4027760" y="113448"/>
                  <a:pt x="4027760" y="113448"/>
                </a:cubicBezTo>
                <a:cubicBezTo>
                  <a:pt x="4046106" y="123454"/>
                  <a:pt x="4062784" y="135127"/>
                  <a:pt x="4081130" y="146800"/>
                </a:cubicBezTo>
                <a:cubicBezTo>
                  <a:pt x="4082798" y="146800"/>
                  <a:pt x="4084466" y="148468"/>
                  <a:pt x="4084466" y="148468"/>
                </a:cubicBezTo>
                <a:cubicBezTo>
                  <a:pt x="4086133" y="150135"/>
                  <a:pt x="4086133" y="150135"/>
                  <a:pt x="4087801" y="150135"/>
                </a:cubicBezTo>
                <a:cubicBezTo>
                  <a:pt x="4087801" y="151803"/>
                  <a:pt x="4089469" y="151803"/>
                  <a:pt x="4089469" y="151803"/>
                </a:cubicBezTo>
                <a:cubicBezTo>
                  <a:pt x="4091137" y="153470"/>
                  <a:pt x="4092805" y="155138"/>
                  <a:pt x="4094473" y="155138"/>
                </a:cubicBezTo>
                <a:cubicBezTo>
                  <a:pt x="4094473" y="155138"/>
                  <a:pt x="4094473" y="155138"/>
                  <a:pt x="4096140" y="156806"/>
                </a:cubicBezTo>
                <a:cubicBezTo>
                  <a:pt x="4204548" y="230179"/>
                  <a:pt x="4297945" y="328567"/>
                  <a:pt x="4367993" y="448633"/>
                </a:cubicBezTo>
                <a:cubicBezTo>
                  <a:pt x="4367993" y="448633"/>
                  <a:pt x="4367993" y="448633"/>
                  <a:pt x="5265275" y="2002820"/>
                </a:cubicBezTo>
                <a:cubicBezTo>
                  <a:pt x="5330319" y="2116215"/>
                  <a:pt x="5367011" y="2236281"/>
                  <a:pt x="5380353" y="2356347"/>
                </a:cubicBezTo>
                <a:cubicBezTo>
                  <a:pt x="5380353" y="2356347"/>
                  <a:pt x="5380353" y="2356347"/>
                  <a:pt x="5380353" y="2358015"/>
                </a:cubicBezTo>
                <a:cubicBezTo>
                  <a:pt x="5380353" y="2359683"/>
                  <a:pt x="5380353" y="2361350"/>
                  <a:pt x="5380353" y="2363018"/>
                </a:cubicBezTo>
                <a:cubicBezTo>
                  <a:pt x="5380353" y="2364685"/>
                  <a:pt x="5380353" y="2364685"/>
                  <a:pt x="5382021" y="2366353"/>
                </a:cubicBezTo>
                <a:cubicBezTo>
                  <a:pt x="5382021" y="2368020"/>
                  <a:pt x="5382021" y="2368020"/>
                  <a:pt x="5382021" y="2369688"/>
                </a:cubicBezTo>
                <a:cubicBezTo>
                  <a:pt x="5382021" y="2371356"/>
                  <a:pt x="5382021" y="2373023"/>
                  <a:pt x="5382021" y="2374691"/>
                </a:cubicBezTo>
                <a:cubicBezTo>
                  <a:pt x="5382021" y="2374691"/>
                  <a:pt x="5382021" y="2376358"/>
                  <a:pt x="5382021" y="2376358"/>
                </a:cubicBezTo>
                <a:cubicBezTo>
                  <a:pt x="5385357" y="2406375"/>
                  <a:pt x="5385357" y="2436391"/>
                  <a:pt x="5385357" y="2466408"/>
                </a:cubicBezTo>
                <a:cubicBezTo>
                  <a:pt x="5385357" y="2489754"/>
                  <a:pt x="5383689" y="2511433"/>
                  <a:pt x="5382021" y="2533111"/>
                </a:cubicBezTo>
                <a:cubicBezTo>
                  <a:pt x="5382021" y="2536446"/>
                  <a:pt x="5380353" y="2538114"/>
                  <a:pt x="5380353" y="2541449"/>
                </a:cubicBezTo>
                <a:cubicBezTo>
                  <a:pt x="5380353" y="2543117"/>
                  <a:pt x="5380353" y="2546452"/>
                  <a:pt x="5380353" y="2548119"/>
                </a:cubicBezTo>
                <a:cubicBezTo>
                  <a:pt x="5380353" y="2551455"/>
                  <a:pt x="5380353" y="2553122"/>
                  <a:pt x="5378686" y="2554790"/>
                </a:cubicBezTo>
                <a:cubicBezTo>
                  <a:pt x="5378686" y="2554790"/>
                  <a:pt x="5378686" y="2556457"/>
                  <a:pt x="5378686" y="2556457"/>
                </a:cubicBezTo>
                <a:cubicBezTo>
                  <a:pt x="5378686" y="2558125"/>
                  <a:pt x="5378686" y="2559792"/>
                  <a:pt x="5378686" y="2561460"/>
                </a:cubicBezTo>
                <a:cubicBezTo>
                  <a:pt x="5378686" y="2563128"/>
                  <a:pt x="5378686" y="2563128"/>
                  <a:pt x="5378686" y="2564795"/>
                </a:cubicBezTo>
                <a:cubicBezTo>
                  <a:pt x="5378686" y="2564795"/>
                  <a:pt x="5377018" y="2566463"/>
                  <a:pt x="5377018" y="2568130"/>
                </a:cubicBezTo>
                <a:cubicBezTo>
                  <a:pt x="5377018" y="2569798"/>
                  <a:pt x="5377018" y="2569798"/>
                  <a:pt x="5377018" y="2571466"/>
                </a:cubicBezTo>
                <a:cubicBezTo>
                  <a:pt x="5377018" y="2573133"/>
                  <a:pt x="5377018" y="2574801"/>
                  <a:pt x="5377018" y="2576468"/>
                </a:cubicBezTo>
                <a:cubicBezTo>
                  <a:pt x="5377018" y="2576468"/>
                  <a:pt x="5377018" y="2578136"/>
                  <a:pt x="5377018" y="2578136"/>
                </a:cubicBezTo>
                <a:cubicBezTo>
                  <a:pt x="5375350" y="2579803"/>
                  <a:pt x="5375350" y="2581471"/>
                  <a:pt x="5375350" y="2583139"/>
                </a:cubicBezTo>
                <a:cubicBezTo>
                  <a:pt x="5375350" y="2584806"/>
                  <a:pt x="5375350" y="2584806"/>
                  <a:pt x="5375350" y="2586474"/>
                </a:cubicBezTo>
                <a:cubicBezTo>
                  <a:pt x="5375350" y="2586474"/>
                  <a:pt x="5375350" y="2588141"/>
                  <a:pt x="5375350" y="2589809"/>
                </a:cubicBezTo>
                <a:cubicBezTo>
                  <a:pt x="5373683" y="2591477"/>
                  <a:pt x="5373683" y="2591477"/>
                  <a:pt x="5373683" y="2593144"/>
                </a:cubicBezTo>
                <a:cubicBezTo>
                  <a:pt x="5373683" y="2594812"/>
                  <a:pt x="5373683" y="2594812"/>
                  <a:pt x="5373683" y="2596479"/>
                </a:cubicBezTo>
                <a:cubicBezTo>
                  <a:pt x="5373683" y="2598147"/>
                  <a:pt x="5373683" y="2599814"/>
                  <a:pt x="5373683" y="2599814"/>
                </a:cubicBezTo>
                <a:cubicBezTo>
                  <a:pt x="5372015" y="2601482"/>
                  <a:pt x="5372015" y="2603150"/>
                  <a:pt x="5372015" y="2603150"/>
                </a:cubicBezTo>
                <a:cubicBezTo>
                  <a:pt x="5372015" y="2604817"/>
                  <a:pt x="5372015" y="2606485"/>
                  <a:pt x="5372015" y="2608152"/>
                </a:cubicBezTo>
                <a:cubicBezTo>
                  <a:pt x="5372015" y="2608152"/>
                  <a:pt x="5372015" y="2609820"/>
                  <a:pt x="5372015" y="2609820"/>
                </a:cubicBezTo>
                <a:cubicBezTo>
                  <a:pt x="5370347" y="2611488"/>
                  <a:pt x="5370347" y="2613155"/>
                  <a:pt x="5370347" y="2614823"/>
                </a:cubicBezTo>
                <a:cubicBezTo>
                  <a:pt x="5370347" y="2614823"/>
                  <a:pt x="5370347" y="2616490"/>
                  <a:pt x="5370347" y="2616490"/>
                </a:cubicBezTo>
                <a:cubicBezTo>
                  <a:pt x="5350333" y="2721548"/>
                  <a:pt x="5311973" y="2823271"/>
                  <a:pt x="5256935" y="2914988"/>
                </a:cubicBezTo>
                <a:cubicBezTo>
                  <a:pt x="4818302" y="3673738"/>
                  <a:pt x="4813299" y="3682076"/>
                  <a:pt x="4374665" y="4442494"/>
                </a:cubicBezTo>
                <a:cubicBezTo>
                  <a:pt x="4297945" y="4579236"/>
                  <a:pt x="4184534" y="4699301"/>
                  <a:pt x="4039435" y="4784348"/>
                </a:cubicBezTo>
                <a:cubicBezTo>
                  <a:pt x="3809277" y="4916087"/>
                  <a:pt x="3544095" y="4936098"/>
                  <a:pt x="3310602" y="4859389"/>
                </a:cubicBezTo>
                <a:cubicBezTo>
                  <a:pt x="3303931" y="4856054"/>
                  <a:pt x="3297260" y="4854387"/>
                  <a:pt x="3290588" y="4852719"/>
                </a:cubicBezTo>
                <a:cubicBezTo>
                  <a:pt x="3290588" y="4852719"/>
                  <a:pt x="3290588" y="4852719"/>
                  <a:pt x="3288921" y="4851052"/>
                </a:cubicBezTo>
                <a:cubicBezTo>
                  <a:pt x="3287253" y="4851052"/>
                  <a:pt x="3285585" y="4851052"/>
                  <a:pt x="3283917" y="4849384"/>
                </a:cubicBezTo>
                <a:cubicBezTo>
                  <a:pt x="3283917" y="4849384"/>
                  <a:pt x="3282249" y="4849384"/>
                  <a:pt x="3282249" y="4849384"/>
                </a:cubicBezTo>
                <a:cubicBezTo>
                  <a:pt x="3278914" y="4847716"/>
                  <a:pt x="3275578" y="4846049"/>
                  <a:pt x="3272242" y="4846049"/>
                </a:cubicBezTo>
                <a:cubicBezTo>
                  <a:pt x="3270575" y="4844381"/>
                  <a:pt x="3270575" y="4844381"/>
                  <a:pt x="3268907" y="4844381"/>
                </a:cubicBezTo>
                <a:cubicBezTo>
                  <a:pt x="3267239" y="4844381"/>
                  <a:pt x="3265571" y="4842714"/>
                  <a:pt x="3263903" y="4842714"/>
                </a:cubicBezTo>
                <a:cubicBezTo>
                  <a:pt x="3262236" y="4841046"/>
                  <a:pt x="3260568" y="4841046"/>
                  <a:pt x="3258900" y="4841046"/>
                </a:cubicBezTo>
                <a:cubicBezTo>
                  <a:pt x="3257232" y="4839378"/>
                  <a:pt x="3255564" y="4839378"/>
                  <a:pt x="3253897" y="4837711"/>
                </a:cubicBezTo>
                <a:cubicBezTo>
                  <a:pt x="3252229" y="4837711"/>
                  <a:pt x="3250561" y="4836043"/>
                  <a:pt x="3248893" y="4836043"/>
                </a:cubicBezTo>
                <a:cubicBezTo>
                  <a:pt x="3247225" y="4836043"/>
                  <a:pt x="3245557" y="4834376"/>
                  <a:pt x="3243890" y="4834376"/>
                </a:cubicBezTo>
                <a:cubicBezTo>
                  <a:pt x="3242222" y="4832708"/>
                  <a:pt x="3238886" y="4832708"/>
                  <a:pt x="3237218" y="4831041"/>
                </a:cubicBezTo>
                <a:cubicBezTo>
                  <a:pt x="3235551" y="4831041"/>
                  <a:pt x="3235551" y="4831041"/>
                  <a:pt x="3233883" y="4829373"/>
                </a:cubicBezTo>
                <a:cubicBezTo>
                  <a:pt x="3232215" y="4829373"/>
                  <a:pt x="3230547" y="4827705"/>
                  <a:pt x="3227212" y="4827705"/>
                </a:cubicBezTo>
                <a:cubicBezTo>
                  <a:pt x="3227212" y="4827705"/>
                  <a:pt x="3225544" y="4826038"/>
                  <a:pt x="3225544" y="4826038"/>
                </a:cubicBezTo>
                <a:cubicBezTo>
                  <a:pt x="3222208" y="4824370"/>
                  <a:pt x="3218873" y="4824370"/>
                  <a:pt x="3217205" y="4822703"/>
                </a:cubicBezTo>
                <a:cubicBezTo>
                  <a:pt x="3215537" y="4822703"/>
                  <a:pt x="3215537" y="4821035"/>
                  <a:pt x="3215537" y="4821035"/>
                </a:cubicBezTo>
                <a:cubicBezTo>
                  <a:pt x="3212201" y="4821035"/>
                  <a:pt x="3210533" y="4819367"/>
                  <a:pt x="3207198" y="4817700"/>
                </a:cubicBezTo>
                <a:cubicBezTo>
                  <a:pt x="3207198" y="4817700"/>
                  <a:pt x="3207198" y="4817700"/>
                  <a:pt x="3205530" y="4817700"/>
                </a:cubicBezTo>
                <a:cubicBezTo>
                  <a:pt x="3202194" y="4816032"/>
                  <a:pt x="3200527" y="4814365"/>
                  <a:pt x="3197191" y="4812697"/>
                </a:cubicBezTo>
                <a:cubicBezTo>
                  <a:pt x="3197191" y="4812697"/>
                  <a:pt x="3197191" y="4812697"/>
                  <a:pt x="3195523" y="4812697"/>
                </a:cubicBezTo>
                <a:cubicBezTo>
                  <a:pt x="3193855" y="4811030"/>
                  <a:pt x="3190520" y="4809362"/>
                  <a:pt x="3187184" y="4807694"/>
                </a:cubicBezTo>
                <a:cubicBezTo>
                  <a:pt x="3183849" y="4806027"/>
                  <a:pt x="3180513" y="4804359"/>
                  <a:pt x="3177177" y="4802692"/>
                </a:cubicBezTo>
                <a:cubicBezTo>
                  <a:pt x="3168838" y="4799356"/>
                  <a:pt x="3162167" y="4794354"/>
                  <a:pt x="3153828" y="4791019"/>
                </a:cubicBezTo>
                <a:cubicBezTo>
                  <a:pt x="3127143" y="4776010"/>
                  <a:pt x="3102126" y="4759334"/>
                  <a:pt x="3077109" y="4742659"/>
                </a:cubicBezTo>
                <a:cubicBezTo>
                  <a:pt x="3075441" y="4740991"/>
                  <a:pt x="3073773" y="4740991"/>
                  <a:pt x="3073773" y="4739323"/>
                </a:cubicBezTo>
                <a:cubicBezTo>
                  <a:pt x="3072105" y="4739323"/>
                  <a:pt x="3070437" y="4737656"/>
                  <a:pt x="3068770" y="4735988"/>
                </a:cubicBezTo>
                <a:cubicBezTo>
                  <a:pt x="3067102" y="4735988"/>
                  <a:pt x="3067102" y="4735988"/>
                  <a:pt x="3065434" y="4734321"/>
                </a:cubicBezTo>
                <a:cubicBezTo>
                  <a:pt x="3063766" y="4732653"/>
                  <a:pt x="3060431" y="4730986"/>
                  <a:pt x="3058763" y="4729318"/>
                </a:cubicBezTo>
                <a:cubicBezTo>
                  <a:pt x="3058763" y="4729318"/>
                  <a:pt x="3058763" y="4729318"/>
                  <a:pt x="3057095" y="4727650"/>
                </a:cubicBezTo>
                <a:cubicBezTo>
                  <a:pt x="2960362" y="4657612"/>
                  <a:pt x="2876972" y="4565895"/>
                  <a:pt x="2813595" y="4455834"/>
                </a:cubicBezTo>
                <a:cubicBezTo>
                  <a:pt x="2743547" y="4334101"/>
                  <a:pt x="2705187" y="4204029"/>
                  <a:pt x="2695180" y="4072290"/>
                </a:cubicBezTo>
                <a:cubicBezTo>
                  <a:pt x="2695180" y="4070623"/>
                  <a:pt x="2695180" y="4068955"/>
                  <a:pt x="2695180" y="4065620"/>
                </a:cubicBezTo>
                <a:cubicBezTo>
                  <a:pt x="2695180" y="4065620"/>
                  <a:pt x="2695180" y="4063952"/>
                  <a:pt x="2695180" y="4063952"/>
                </a:cubicBezTo>
                <a:cubicBezTo>
                  <a:pt x="2695180" y="4062285"/>
                  <a:pt x="2695180" y="4060617"/>
                  <a:pt x="2693513" y="4060617"/>
                </a:cubicBezTo>
                <a:cubicBezTo>
                  <a:pt x="2693513" y="4058950"/>
                  <a:pt x="2693513" y="4057282"/>
                  <a:pt x="2693513" y="4055614"/>
                </a:cubicBezTo>
                <a:cubicBezTo>
                  <a:pt x="2693513" y="4055614"/>
                  <a:pt x="2693513" y="4055614"/>
                  <a:pt x="2693513" y="4053947"/>
                </a:cubicBezTo>
                <a:cubicBezTo>
                  <a:pt x="2693513" y="4033936"/>
                  <a:pt x="2691845" y="4013925"/>
                  <a:pt x="2693513" y="3993914"/>
                </a:cubicBezTo>
                <a:cubicBezTo>
                  <a:pt x="2693513" y="3992246"/>
                  <a:pt x="2693513" y="3992246"/>
                  <a:pt x="2693513" y="3992246"/>
                </a:cubicBezTo>
                <a:cubicBezTo>
                  <a:pt x="2690177" y="3843831"/>
                  <a:pt x="2651817" y="3695416"/>
                  <a:pt x="2571762" y="3557007"/>
                </a:cubicBezTo>
                <a:cubicBezTo>
                  <a:pt x="2493375" y="3420265"/>
                  <a:pt x="2383300" y="3311872"/>
                  <a:pt x="2256546" y="3236831"/>
                </a:cubicBezTo>
                <a:cubicBezTo>
                  <a:pt x="2248207" y="3231828"/>
                  <a:pt x="2239868" y="3226826"/>
                  <a:pt x="2231529" y="3221823"/>
                </a:cubicBezTo>
                <a:cubicBezTo>
                  <a:pt x="1966348" y="3075076"/>
                  <a:pt x="1631118" y="3065070"/>
                  <a:pt x="1349258" y="3228493"/>
                </a:cubicBezTo>
                <a:cubicBezTo>
                  <a:pt x="1347590" y="3228493"/>
                  <a:pt x="1347590" y="3228493"/>
                  <a:pt x="1345922" y="3230161"/>
                </a:cubicBezTo>
                <a:cubicBezTo>
                  <a:pt x="1330912" y="3238499"/>
                  <a:pt x="1315902" y="3246837"/>
                  <a:pt x="1299224" y="3255175"/>
                </a:cubicBezTo>
                <a:cubicBezTo>
                  <a:pt x="1292553" y="3258510"/>
                  <a:pt x="1285881" y="3261845"/>
                  <a:pt x="1279210" y="3265180"/>
                </a:cubicBezTo>
                <a:cubicBezTo>
                  <a:pt x="1272539" y="3268515"/>
                  <a:pt x="1265868" y="3270183"/>
                  <a:pt x="1259196" y="3273518"/>
                </a:cubicBezTo>
                <a:cubicBezTo>
                  <a:pt x="1252525" y="3276853"/>
                  <a:pt x="1245854" y="3280188"/>
                  <a:pt x="1237515" y="3283523"/>
                </a:cubicBezTo>
                <a:cubicBezTo>
                  <a:pt x="1230844" y="3285191"/>
                  <a:pt x="1224172" y="3288526"/>
                  <a:pt x="1217501" y="3290194"/>
                </a:cubicBezTo>
                <a:cubicBezTo>
                  <a:pt x="1210830" y="3293529"/>
                  <a:pt x="1204159" y="3296864"/>
                  <a:pt x="1195820" y="3298532"/>
                </a:cubicBezTo>
                <a:cubicBezTo>
                  <a:pt x="1189148" y="3301867"/>
                  <a:pt x="1182477" y="3303534"/>
                  <a:pt x="1175806" y="3305202"/>
                </a:cubicBezTo>
                <a:cubicBezTo>
                  <a:pt x="1065730" y="3341889"/>
                  <a:pt x="952319" y="3355230"/>
                  <a:pt x="840576" y="3348559"/>
                </a:cubicBezTo>
                <a:cubicBezTo>
                  <a:pt x="833905" y="3346892"/>
                  <a:pt x="827234" y="3346892"/>
                  <a:pt x="818895" y="3346892"/>
                </a:cubicBezTo>
                <a:cubicBezTo>
                  <a:pt x="812223" y="3345224"/>
                  <a:pt x="805552" y="3345224"/>
                  <a:pt x="798881" y="3343556"/>
                </a:cubicBezTo>
                <a:cubicBezTo>
                  <a:pt x="798881" y="3343556"/>
                  <a:pt x="797213" y="3343556"/>
                  <a:pt x="797213" y="3343556"/>
                </a:cubicBezTo>
                <a:cubicBezTo>
                  <a:pt x="790542" y="3343556"/>
                  <a:pt x="783871" y="3341889"/>
                  <a:pt x="777199" y="3341889"/>
                </a:cubicBezTo>
                <a:cubicBezTo>
                  <a:pt x="777199" y="3341889"/>
                  <a:pt x="777199" y="3341889"/>
                  <a:pt x="775532" y="3341889"/>
                </a:cubicBezTo>
                <a:cubicBezTo>
                  <a:pt x="772196" y="3340221"/>
                  <a:pt x="767193" y="3340221"/>
                  <a:pt x="763857" y="3340221"/>
                </a:cubicBezTo>
                <a:cubicBezTo>
                  <a:pt x="763857" y="3340221"/>
                  <a:pt x="763857" y="3338554"/>
                  <a:pt x="762189" y="3338554"/>
                </a:cubicBezTo>
                <a:cubicBezTo>
                  <a:pt x="760521" y="3338554"/>
                  <a:pt x="758854" y="3338554"/>
                  <a:pt x="757186" y="3338554"/>
                </a:cubicBezTo>
                <a:cubicBezTo>
                  <a:pt x="755518" y="3338554"/>
                  <a:pt x="755518" y="3338554"/>
                  <a:pt x="753850" y="3338554"/>
                </a:cubicBezTo>
                <a:cubicBezTo>
                  <a:pt x="750515" y="3336886"/>
                  <a:pt x="748847" y="3336886"/>
                  <a:pt x="745511" y="3336886"/>
                </a:cubicBezTo>
                <a:cubicBezTo>
                  <a:pt x="743843" y="3336886"/>
                  <a:pt x="742175" y="3335219"/>
                  <a:pt x="740508" y="3335219"/>
                </a:cubicBezTo>
                <a:cubicBezTo>
                  <a:pt x="738840" y="3335219"/>
                  <a:pt x="738840" y="3335219"/>
                  <a:pt x="737172" y="3335219"/>
                </a:cubicBezTo>
                <a:cubicBezTo>
                  <a:pt x="735504" y="3335219"/>
                  <a:pt x="733836" y="3333551"/>
                  <a:pt x="732169" y="3333551"/>
                </a:cubicBezTo>
                <a:cubicBezTo>
                  <a:pt x="730501" y="3333551"/>
                  <a:pt x="727165" y="3333551"/>
                  <a:pt x="725497" y="3333551"/>
                </a:cubicBezTo>
                <a:cubicBezTo>
                  <a:pt x="723830" y="3331883"/>
                  <a:pt x="722162" y="3331883"/>
                  <a:pt x="720494" y="3331883"/>
                </a:cubicBezTo>
                <a:cubicBezTo>
                  <a:pt x="718826" y="3331883"/>
                  <a:pt x="717158" y="3331883"/>
                  <a:pt x="715491" y="3330216"/>
                </a:cubicBezTo>
                <a:cubicBezTo>
                  <a:pt x="713823" y="3330216"/>
                  <a:pt x="712155" y="3330216"/>
                  <a:pt x="710487" y="3330216"/>
                </a:cubicBezTo>
                <a:cubicBezTo>
                  <a:pt x="708819" y="3330216"/>
                  <a:pt x="707151" y="3328548"/>
                  <a:pt x="705484" y="3328548"/>
                </a:cubicBezTo>
                <a:cubicBezTo>
                  <a:pt x="703816" y="3328548"/>
                  <a:pt x="700480" y="3326881"/>
                  <a:pt x="698812" y="3326881"/>
                </a:cubicBezTo>
                <a:cubicBezTo>
                  <a:pt x="697145" y="3326881"/>
                  <a:pt x="697145" y="3326881"/>
                  <a:pt x="695477" y="3326881"/>
                </a:cubicBezTo>
                <a:cubicBezTo>
                  <a:pt x="692141" y="3325213"/>
                  <a:pt x="690473" y="3325213"/>
                  <a:pt x="687138" y="3325213"/>
                </a:cubicBezTo>
                <a:cubicBezTo>
                  <a:pt x="687138" y="3325213"/>
                  <a:pt x="687138" y="3323545"/>
                  <a:pt x="685470" y="3323545"/>
                </a:cubicBezTo>
                <a:cubicBezTo>
                  <a:pt x="683802" y="3323545"/>
                  <a:pt x="680467" y="3323545"/>
                  <a:pt x="677131" y="3321878"/>
                </a:cubicBezTo>
                <a:cubicBezTo>
                  <a:pt x="677131" y="3321878"/>
                  <a:pt x="675463" y="3321878"/>
                  <a:pt x="675463" y="3321878"/>
                </a:cubicBezTo>
                <a:cubicBezTo>
                  <a:pt x="668792" y="3320210"/>
                  <a:pt x="662121" y="3318543"/>
                  <a:pt x="655449" y="3316875"/>
                </a:cubicBezTo>
                <a:cubicBezTo>
                  <a:pt x="655449" y="3316875"/>
                  <a:pt x="655449" y="3316875"/>
                  <a:pt x="653782" y="3315208"/>
                </a:cubicBezTo>
                <a:cubicBezTo>
                  <a:pt x="648778" y="3313540"/>
                  <a:pt x="642107" y="3311872"/>
                  <a:pt x="633768" y="3310205"/>
                </a:cubicBezTo>
                <a:cubicBezTo>
                  <a:pt x="573727" y="3291861"/>
                  <a:pt x="517021" y="3266848"/>
                  <a:pt x="461984" y="3236831"/>
                </a:cubicBezTo>
                <a:cubicBezTo>
                  <a:pt x="460316" y="3236831"/>
                  <a:pt x="460316" y="3236831"/>
                  <a:pt x="460316" y="3235164"/>
                </a:cubicBezTo>
                <a:cubicBezTo>
                  <a:pt x="448641" y="3228493"/>
                  <a:pt x="436966" y="3221823"/>
                  <a:pt x="425292" y="3215153"/>
                </a:cubicBezTo>
                <a:cubicBezTo>
                  <a:pt x="425292" y="3215153"/>
                  <a:pt x="423624" y="3215153"/>
                  <a:pt x="423624" y="3213485"/>
                </a:cubicBezTo>
                <a:cubicBezTo>
                  <a:pt x="421956" y="3213485"/>
                  <a:pt x="418620" y="3211817"/>
                  <a:pt x="416953" y="3210150"/>
                </a:cubicBezTo>
                <a:cubicBezTo>
                  <a:pt x="415285" y="3208482"/>
                  <a:pt x="413617" y="3206815"/>
                  <a:pt x="411949" y="3206815"/>
                </a:cubicBezTo>
                <a:cubicBezTo>
                  <a:pt x="410281" y="3205147"/>
                  <a:pt x="410281" y="3205147"/>
                  <a:pt x="408613" y="3205147"/>
                </a:cubicBezTo>
                <a:cubicBezTo>
                  <a:pt x="293535" y="3130106"/>
                  <a:pt x="193466" y="3028383"/>
                  <a:pt x="120082" y="2901647"/>
                </a:cubicBezTo>
                <a:cubicBezTo>
                  <a:pt x="41695" y="2764905"/>
                  <a:pt x="3336" y="2614823"/>
                  <a:pt x="0" y="2468075"/>
                </a:cubicBezTo>
                <a:cubicBezTo>
                  <a:pt x="0" y="2458070"/>
                  <a:pt x="0" y="2449732"/>
                  <a:pt x="0" y="2439727"/>
                </a:cubicBezTo>
                <a:cubicBezTo>
                  <a:pt x="0" y="2439727"/>
                  <a:pt x="0" y="2438059"/>
                  <a:pt x="0" y="2438059"/>
                </a:cubicBezTo>
                <a:cubicBezTo>
                  <a:pt x="3336" y="2279639"/>
                  <a:pt x="48367" y="2124553"/>
                  <a:pt x="130090" y="1987812"/>
                </a:cubicBezTo>
                <a:cubicBezTo>
                  <a:pt x="567055" y="1230729"/>
                  <a:pt x="572059" y="1220723"/>
                  <a:pt x="1010693" y="461973"/>
                </a:cubicBezTo>
                <a:cubicBezTo>
                  <a:pt x="1010693" y="461973"/>
                  <a:pt x="1012361" y="460306"/>
                  <a:pt x="1012361" y="458638"/>
                </a:cubicBezTo>
                <a:cubicBezTo>
                  <a:pt x="1014028" y="458638"/>
                  <a:pt x="1014028" y="456970"/>
                  <a:pt x="1014028" y="455303"/>
                </a:cubicBezTo>
                <a:cubicBezTo>
                  <a:pt x="1015696" y="453635"/>
                  <a:pt x="1017364" y="450300"/>
                  <a:pt x="1019032" y="448633"/>
                </a:cubicBezTo>
                <a:cubicBezTo>
                  <a:pt x="1019032" y="446965"/>
                  <a:pt x="1019032" y="446965"/>
                  <a:pt x="1020700" y="445297"/>
                </a:cubicBezTo>
                <a:cubicBezTo>
                  <a:pt x="1020700" y="443630"/>
                  <a:pt x="1022367" y="441962"/>
                  <a:pt x="1024035" y="440295"/>
                </a:cubicBezTo>
                <a:cubicBezTo>
                  <a:pt x="1024035" y="438627"/>
                  <a:pt x="1024035" y="438627"/>
                  <a:pt x="1025703" y="436959"/>
                </a:cubicBezTo>
                <a:cubicBezTo>
                  <a:pt x="1027371" y="435292"/>
                  <a:pt x="1027371" y="431957"/>
                  <a:pt x="1029039" y="430289"/>
                </a:cubicBezTo>
                <a:cubicBezTo>
                  <a:pt x="1030707" y="428621"/>
                  <a:pt x="1030707" y="426954"/>
                  <a:pt x="1032374" y="426954"/>
                </a:cubicBezTo>
                <a:cubicBezTo>
                  <a:pt x="1032374" y="425286"/>
                  <a:pt x="1034042" y="423619"/>
                  <a:pt x="1034042" y="421951"/>
                </a:cubicBezTo>
                <a:cubicBezTo>
                  <a:pt x="1035710" y="420284"/>
                  <a:pt x="1035710" y="418616"/>
                  <a:pt x="1037378" y="418616"/>
                </a:cubicBezTo>
                <a:cubicBezTo>
                  <a:pt x="1037378" y="415281"/>
                  <a:pt x="1039046" y="413613"/>
                  <a:pt x="1040713" y="411946"/>
                </a:cubicBezTo>
                <a:cubicBezTo>
                  <a:pt x="1042381" y="410278"/>
                  <a:pt x="1042381" y="410278"/>
                  <a:pt x="1042381" y="408611"/>
                </a:cubicBezTo>
                <a:cubicBezTo>
                  <a:pt x="1044049" y="406943"/>
                  <a:pt x="1045717" y="405275"/>
                  <a:pt x="1047385" y="401940"/>
                </a:cubicBezTo>
                <a:cubicBezTo>
                  <a:pt x="1047385" y="401940"/>
                  <a:pt x="1047385" y="401940"/>
                  <a:pt x="1049052" y="400273"/>
                </a:cubicBezTo>
                <a:cubicBezTo>
                  <a:pt x="1049052" y="398605"/>
                  <a:pt x="1050720" y="395270"/>
                  <a:pt x="1052388" y="393602"/>
                </a:cubicBezTo>
                <a:cubicBezTo>
                  <a:pt x="1054056" y="391935"/>
                  <a:pt x="1054056" y="391935"/>
                  <a:pt x="1055724" y="390267"/>
                </a:cubicBezTo>
                <a:cubicBezTo>
                  <a:pt x="1055724" y="388599"/>
                  <a:pt x="1057391" y="386932"/>
                  <a:pt x="1059059" y="383597"/>
                </a:cubicBezTo>
                <a:cubicBezTo>
                  <a:pt x="1059059" y="383597"/>
                  <a:pt x="1060727" y="383597"/>
                  <a:pt x="1060727" y="381929"/>
                </a:cubicBezTo>
                <a:cubicBezTo>
                  <a:pt x="1062395" y="380262"/>
                  <a:pt x="1064063" y="376926"/>
                  <a:pt x="1065730" y="375259"/>
                </a:cubicBezTo>
                <a:cubicBezTo>
                  <a:pt x="1065730" y="375259"/>
                  <a:pt x="1067398" y="373591"/>
                  <a:pt x="1067398" y="373591"/>
                </a:cubicBezTo>
                <a:cubicBezTo>
                  <a:pt x="1069066" y="370256"/>
                  <a:pt x="1070734" y="368589"/>
                  <a:pt x="1072402" y="365253"/>
                </a:cubicBezTo>
                <a:cubicBezTo>
                  <a:pt x="1075737" y="361918"/>
                  <a:pt x="1077405" y="360251"/>
                  <a:pt x="1079073" y="356915"/>
                </a:cubicBezTo>
                <a:cubicBezTo>
                  <a:pt x="1079073" y="356915"/>
                  <a:pt x="1079073" y="356915"/>
                  <a:pt x="1080741" y="355248"/>
                </a:cubicBezTo>
                <a:cubicBezTo>
                  <a:pt x="1082409" y="353580"/>
                  <a:pt x="1084076" y="350245"/>
                  <a:pt x="1085744" y="346910"/>
                </a:cubicBezTo>
                <a:cubicBezTo>
                  <a:pt x="1089080" y="345242"/>
                  <a:pt x="1090748" y="341907"/>
                  <a:pt x="1092415" y="340240"/>
                </a:cubicBezTo>
                <a:cubicBezTo>
                  <a:pt x="1092415" y="340240"/>
                  <a:pt x="1092415" y="338572"/>
                  <a:pt x="1094083" y="338572"/>
                </a:cubicBezTo>
                <a:cubicBezTo>
                  <a:pt x="1097419" y="333569"/>
                  <a:pt x="1102422" y="328567"/>
                  <a:pt x="1105758" y="323564"/>
                </a:cubicBezTo>
                <a:cubicBezTo>
                  <a:pt x="1105758" y="321896"/>
                  <a:pt x="1107426" y="321896"/>
                  <a:pt x="1107426" y="321896"/>
                </a:cubicBezTo>
                <a:cubicBezTo>
                  <a:pt x="1110761" y="316894"/>
                  <a:pt x="1115765" y="311891"/>
                  <a:pt x="1120768" y="306888"/>
                </a:cubicBezTo>
                <a:cubicBezTo>
                  <a:pt x="1120768" y="305220"/>
                  <a:pt x="1120768" y="305220"/>
                  <a:pt x="1120768" y="305220"/>
                </a:cubicBezTo>
                <a:cubicBezTo>
                  <a:pt x="1125772" y="300218"/>
                  <a:pt x="1130775" y="295215"/>
                  <a:pt x="1135778" y="290212"/>
                </a:cubicBezTo>
                <a:cubicBezTo>
                  <a:pt x="1135778" y="290212"/>
                  <a:pt x="1135778" y="288545"/>
                  <a:pt x="1135778" y="288545"/>
                </a:cubicBezTo>
                <a:cubicBezTo>
                  <a:pt x="1140782" y="283542"/>
                  <a:pt x="1145785" y="278539"/>
                  <a:pt x="1150789" y="273536"/>
                </a:cubicBezTo>
                <a:cubicBezTo>
                  <a:pt x="1207494" y="215171"/>
                  <a:pt x="1272539" y="163476"/>
                  <a:pt x="1345922" y="120119"/>
                </a:cubicBezTo>
                <a:cubicBezTo>
                  <a:pt x="1400960" y="90102"/>
                  <a:pt x="1455998" y="65089"/>
                  <a:pt x="1512703" y="46745"/>
                </a:cubicBezTo>
                <a:cubicBezTo>
                  <a:pt x="1516039" y="45078"/>
                  <a:pt x="1519375" y="43410"/>
                  <a:pt x="1522710" y="43410"/>
                </a:cubicBezTo>
                <a:cubicBezTo>
                  <a:pt x="1526046" y="41742"/>
                  <a:pt x="1529382" y="40075"/>
                  <a:pt x="1532717" y="40075"/>
                </a:cubicBezTo>
                <a:cubicBezTo>
                  <a:pt x="1534385" y="40075"/>
                  <a:pt x="1534385" y="40075"/>
                  <a:pt x="1534385" y="40075"/>
                </a:cubicBezTo>
                <a:cubicBezTo>
                  <a:pt x="1537721" y="38407"/>
                  <a:pt x="1541056" y="36739"/>
                  <a:pt x="1542724" y="36739"/>
                </a:cubicBezTo>
                <a:cubicBezTo>
                  <a:pt x="1544392" y="36739"/>
                  <a:pt x="1544392" y="36739"/>
                  <a:pt x="1544392" y="36739"/>
                </a:cubicBezTo>
                <a:cubicBezTo>
                  <a:pt x="1547727" y="35072"/>
                  <a:pt x="1551063" y="35072"/>
                  <a:pt x="1554399" y="33404"/>
                </a:cubicBezTo>
                <a:cubicBezTo>
                  <a:pt x="1554399" y="33404"/>
                  <a:pt x="1556066" y="33404"/>
                  <a:pt x="1556066" y="33404"/>
                </a:cubicBezTo>
                <a:cubicBezTo>
                  <a:pt x="1559402" y="31737"/>
                  <a:pt x="1561070" y="31737"/>
                  <a:pt x="1564406" y="30069"/>
                </a:cubicBezTo>
                <a:cubicBezTo>
                  <a:pt x="1564406" y="30069"/>
                  <a:pt x="1566073" y="30069"/>
                  <a:pt x="1566073" y="30069"/>
                </a:cubicBezTo>
                <a:cubicBezTo>
                  <a:pt x="1569409" y="30069"/>
                  <a:pt x="1572745" y="28402"/>
                  <a:pt x="1576080" y="28402"/>
                </a:cubicBezTo>
                <a:cubicBezTo>
                  <a:pt x="1576080" y="28402"/>
                  <a:pt x="1577748" y="26734"/>
                  <a:pt x="1577748" y="26734"/>
                </a:cubicBezTo>
                <a:cubicBezTo>
                  <a:pt x="1581084" y="26734"/>
                  <a:pt x="1582751" y="26734"/>
                  <a:pt x="1586087" y="25067"/>
                </a:cubicBezTo>
                <a:cubicBezTo>
                  <a:pt x="1586087" y="25067"/>
                  <a:pt x="1587755" y="25067"/>
                  <a:pt x="1587755" y="25067"/>
                </a:cubicBezTo>
                <a:cubicBezTo>
                  <a:pt x="1591090" y="23399"/>
                  <a:pt x="1594426" y="23399"/>
                  <a:pt x="1596094" y="23399"/>
                </a:cubicBezTo>
                <a:cubicBezTo>
                  <a:pt x="1597762" y="21731"/>
                  <a:pt x="1599430" y="21731"/>
                  <a:pt x="1599430" y="21731"/>
                </a:cubicBezTo>
                <a:cubicBezTo>
                  <a:pt x="1601097" y="21731"/>
                  <a:pt x="1602765" y="21731"/>
                  <a:pt x="1604433" y="21731"/>
                </a:cubicBezTo>
                <a:cubicBezTo>
                  <a:pt x="1604433" y="21731"/>
                  <a:pt x="1606101" y="20064"/>
                  <a:pt x="1606101" y="20064"/>
                </a:cubicBezTo>
                <a:cubicBezTo>
                  <a:pt x="1607769" y="20064"/>
                  <a:pt x="1607769" y="20064"/>
                  <a:pt x="1609436" y="20064"/>
                </a:cubicBezTo>
                <a:cubicBezTo>
                  <a:pt x="1609436" y="20064"/>
                  <a:pt x="1611104" y="20064"/>
                  <a:pt x="1611104" y="20064"/>
                </a:cubicBezTo>
                <a:cubicBezTo>
                  <a:pt x="1612772" y="18396"/>
                  <a:pt x="1616108" y="18396"/>
                  <a:pt x="1617775" y="18396"/>
                </a:cubicBezTo>
                <a:cubicBezTo>
                  <a:pt x="1619443" y="18396"/>
                  <a:pt x="1621111" y="18396"/>
                  <a:pt x="1621111" y="16729"/>
                </a:cubicBezTo>
                <a:cubicBezTo>
                  <a:pt x="1622779" y="16729"/>
                  <a:pt x="1624447" y="16729"/>
                  <a:pt x="1624447" y="16729"/>
                </a:cubicBezTo>
                <a:cubicBezTo>
                  <a:pt x="1626114" y="16729"/>
                  <a:pt x="1626114" y="16729"/>
                  <a:pt x="1627782" y="16729"/>
                </a:cubicBezTo>
                <a:cubicBezTo>
                  <a:pt x="1629450" y="16729"/>
                  <a:pt x="1631118" y="15061"/>
                  <a:pt x="1632786" y="15061"/>
                </a:cubicBezTo>
                <a:cubicBezTo>
                  <a:pt x="1632786" y="15061"/>
                  <a:pt x="1634454" y="15061"/>
                  <a:pt x="1634454" y="15061"/>
                </a:cubicBezTo>
                <a:cubicBezTo>
                  <a:pt x="1636121" y="15061"/>
                  <a:pt x="1637789" y="15061"/>
                  <a:pt x="1639457" y="13393"/>
                </a:cubicBezTo>
                <a:cubicBezTo>
                  <a:pt x="1641125" y="13393"/>
                  <a:pt x="1642793" y="13393"/>
                  <a:pt x="1644460" y="13393"/>
                </a:cubicBezTo>
                <a:cubicBezTo>
                  <a:pt x="1644460" y="13393"/>
                  <a:pt x="1646128" y="13393"/>
                  <a:pt x="1646128" y="13393"/>
                </a:cubicBezTo>
                <a:cubicBezTo>
                  <a:pt x="1647796" y="13393"/>
                  <a:pt x="1647796" y="13393"/>
                  <a:pt x="1649464" y="11726"/>
                </a:cubicBezTo>
                <a:cubicBezTo>
                  <a:pt x="1651132" y="11726"/>
                  <a:pt x="1652799" y="11726"/>
                  <a:pt x="1654467" y="11726"/>
                </a:cubicBezTo>
                <a:cubicBezTo>
                  <a:pt x="1654467" y="11726"/>
                  <a:pt x="1656135" y="11726"/>
                  <a:pt x="1656135" y="11726"/>
                </a:cubicBezTo>
                <a:cubicBezTo>
                  <a:pt x="1657803" y="11726"/>
                  <a:pt x="1659471" y="10058"/>
                  <a:pt x="1659471" y="10058"/>
                </a:cubicBezTo>
                <a:cubicBezTo>
                  <a:pt x="1662806" y="10058"/>
                  <a:pt x="1664474" y="10058"/>
                  <a:pt x="1666142" y="10058"/>
                </a:cubicBezTo>
                <a:cubicBezTo>
                  <a:pt x="1666142" y="10058"/>
                  <a:pt x="1667810" y="10058"/>
                  <a:pt x="1667810" y="10058"/>
                </a:cubicBezTo>
                <a:cubicBezTo>
                  <a:pt x="1669478" y="10058"/>
                  <a:pt x="1669478" y="10058"/>
                  <a:pt x="1669478" y="8391"/>
                </a:cubicBezTo>
                <a:cubicBezTo>
                  <a:pt x="1672813" y="8391"/>
                  <a:pt x="1674481" y="8391"/>
                  <a:pt x="1676149" y="8391"/>
                </a:cubicBezTo>
                <a:cubicBezTo>
                  <a:pt x="1677817" y="8391"/>
                  <a:pt x="1677817" y="8391"/>
                  <a:pt x="1677817" y="8391"/>
                </a:cubicBezTo>
                <a:cubicBezTo>
                  <a:pt x="1677817" y="8391"/>
                  <a:pt x="1679484" y="8391"/>
                  <a:pt x="1679484" y="8391"/>
                </a:cubicBezTo>
                <a:cubicBezTo>
                  <a:pt x="1679484" y="8391"/>
                  <a:pt x="1681152" y="8391"/>
                  <a:pt x="1681152" y="8391"/>
                </a:cubicBezTo>
                <a:cubicBezTo>
                  <a:pt x="1682820" y="6723"/>
                  <a:pt x="1686156" y="6723"/>
                  <a:pt x="1687823" y="6723"/>
                </a:cubicBezTo>
                <a:cubicBezTo>
                  <a:pt x="1687823" y="6723"/>
                  <a:pt x="1689491" y="6723"/>
                  <a:pt x="1689491" y="6723"/>
                </a:cubicBezTo>
                <a:cubicBezTo>
                  <a:pt x="1689491" y="6723"/>
                  <a:pt x="1691159" y="6723"/>
                  <a:pt x="1691159" y="6723"/>
                </a:cubicBezTo>
                <a:cubicBezTo>
                  <a:pt x="1691159" y="6723"/>
                  <a:pt x="1691159" y="6723"/>
                  <a:pt x="1692827" y="6723"/>
                </a:cubicBezTo>
                <a:cubicBezTo>
                  <a:pt x="1694495" y="6723"/>
                  <a:pt x="1696162" y="6723"/>
                  <a:pt x="1699498" y="5055"/>
                </a:cubicBezTo>
                <a:cubicBezTo>
                  <a:pt x="1701166" y="5055"/>
                  <a:pt x="1701166" y="5055"/>
                  <a:pt x="1701166" y="5055"/>
                </a:cubicBezTo>
                <a:cubicBezTo>
                  <a:pt x="1701166" y="5055"/>
                  <a:pt x="1702834" y="5055"/>
                  <a:pt x="1702834" y="5055"/>
                </a:cubicBezTo>
                <a:cubicBezTo>
                  <a:pt x="1704502" y="5055"/>
                  <a:pt x="1707837" y="5055"/>
                  <a:pt x="1709505" y="5055"/>
                </a:cubicBezTo>
                <a:cubicBezTo>
                  <a:pt x="1714508" y="3388"/>
                  <a:pt x="1717844" y="3388"/>
                  <a:pt x="1722847" y="3388"/>
                </a:cubicBezTo>
                <a:cubicBezTo>
                  <a:pt x="1722847" y="3388"/>
                  <a:pt x="1722847" y="3388"/>
                  <a:pt x="1724515" y="3388"/>
                </a:cubicBezTo>
                <a:cubicBezTo>
                  <a:pt x="1731186" y="3388"/>
                  <a:pt x="1736190" y="1720"/>
                  <a:pt x="1744529" y="1720"/>
                </a:cubicBezTo>
                <a:cubicBezTo>
                  <a:pt x="1751200" y="1720"/>
                  <a:pt x="1757871" y="1720"/>
                  <a:pt x="1766210" y="1720"/>
                </a:cubicBezTo>
                <a:cubicBezTo>
                  <a:pt x="1781221" y="53"/>
                  <a:pt x="1796231" y="53"/>
                  <a:pt x="1809574" y="53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44495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B1A874DA-2624-30D0-FB18-BB1F902853B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624878" y="0"/>
            <a:ext cx="5567122" cy="6858000"/>
          </a:xfrm>
          <a:custGeom>
            <a:avLst/>
            <a:gdLst>
              <a:gd name="connsiteX0" fmla="*/ 1285861 w 2649538"/>
              <a:gd name="connsiteY0" fmla="*/ 0 h 3263900"/>
              <a:gd name="connsiteX1" fmla="*/ 2117666 w 2649538"/>
              <a:gd name="connsiteY1" fmla="*/ 0 h 3263900"/>
              <a:gd name="connsiteX2" fmla="*/ 2249879 w 2649538"/>
              <a:gd name="connsiteY2" fmla="*/ 154884 h 3263900"/>
              <a:gd name="connsiteX3" fmla="*/ 2252145 w 2649538"/>
              <a:gd name="connsiteY3" fmla="*/ 158662 h 3263900"/>
              <a:gd name="connsiteX4" fmla="*/ 2257433 w 2649538"/>
              <a:gd name="connsiteY4" fmla="*/ 168484 h 3263900"/>
              <a:gd name="connsiteX5" fmla="*/ 2259700 w 2649538"/>
              <a:gd name="connsiteY5" fmla="*/ 172261 h 3263900"/>
              <a:gd name="connsiteX6" fmla="*/ 2339027 w 2649538"/>
              <a:gd name="connsiteY6" fmla="*/ 477497 h 3263900"/>
              <a:gd name="connsiteX7" fmla="*/ 2259700 w 2649538"/>
              <a:gd name="connsiteY7" fmla="*/ 781976 h 3263900"/>
              <a:gd name="connsiteX8" fmla="*/ 2249879 w 2649538"/>
              <a:gd name="connsiteY8" fmla="*/ 799353 h 3263900"/>
              <a:gd name="connsiteX9" fmla="*/ 2170551 w 2649538"/>
              <a:gd name="connsiteY9" fmla="*/ 1103833 h 3263900"/>
              <a:gd name="connsiteX10" fmla="*/ 2249879 w 2649538"/>
              <a:gd name="connsiteY10" fmla="*/ 1409068 h 3263900"/>
              <a:gd name="connsiteX11" fmla="*/ 2259700 w 2649538"/>
              <a:gd name="connsiteY11" fmla="*/ 1425690 h 3263900"/>
              <a:gd name="connsiteX12" fmla="*/ 2649538 w 2649538"/>
              <a:gd name="connsiteY12" fmla="*/ 1712792 h 3263900"/>
              <a:gd name="connsiteX13" fmla="*/ 2649538 w 2649538"/>
              <a:gd name="connsiteY13" fmla="*/ 3263900 h 3263900"/>
              <a:gd name="connsiteX14" fmla="*/ 942108 w 2649538"/>
              <a:gd name="connsiteY14" fmla="*/ 3263900 h 3263900"/>
              <a:gd name="connsiteX15" fmla="*/ 323354 w 2649538"/>
              <a:gd name="connsiteY15" fmla="*/ 2905778 h 3263900"/>
              <a:gd name="connsiteX16" fmla="*/ 0 w 2649538"/>
              <a:gd name="connsiteY16" fmla="*/ 2357261 h 3263900"/>
              <a:gd name="connsiteX17" fmla="*/ 0 w 2649538"/>
              <a:gd name="connsiteY17" fmla="*/ 2349706 h 3263900"/>
              <a:gd name="connsiteX18" fmla="*/ 77061 w 2649538"/>
              <a:gd name="connsiteY18" fmla="*/ 2055804 h 3263900"/>
              <a:gd name="connsiteX19" fmla="*/ 90660 w 2649538"/>
              <a:gd name="connsiteY19" fmla="*/ 2032382 h 3263900"/>
              <a:gd name="connsiteX20" fmla="*/ 167721 w 2649538"/>
              <a:gd name="connsiteY20" fmla="*/ 1730925 h 3263900"/>
              <a:gd name="connsiteX21" fmla="*/ 90660 w 2649538"/>
              <a:gd name="connsiteY21" fmla="*/ 1429468 h 3263900"/>
              <a:gd name="connsiteX22" fmla="*/ 77061 w 2649538"/>
              <a:gd name="connsiteY22" fmla="*/ 1406046 h 3263900"/>
              <a:gd name="connsiteX23" fmla="*/ 0 w 2649538"/>
              <a:gd name="connsiteY23" fmla="*/ 1111388 h 3263900"/>
              <a:gd name="connsiteX24" fmla="*/ 0 w 2649538"/>
              <a:gd name="connsiteY24" fmla="*/ 1103833 h 3263900"/>
              <a:gd name="connsiteX25" fmla="*/ 323354 w 2649538"/>
              <a:gd name="connsiteY25" fmla="*/ 555316 h 3263900"/>
              <a:gd name="connsiteX26" fmla="*/ 1285861 w 2649538"/>
              <a:gd name="connsiteY26" fmla="*/ 0 h 326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49538" h="3263900">
                <a:moveTo>
                  <a:pt x="1285861" y="0"/>
                </a:moveTo>
                <a:cubicBezTo>
                  <a:pt x="1285861" y="0"/>
                  <a:pt x="1285861" y="0"/>
                  <a:pt x="2117666" y="0"/>
                </a:cubicBezTo>
                <a:cubicBezTo>
                  <a:pt x="2169795" y="43821"/>
                  <a:pt x="2214370" y="96708"/>
                  <a:pt x="2249879" y="154884"/>
                </a:cubicBezTo>
                <a:cubicBezTo>
                  <a:pt x="2250634" y="156395"/>
                  <a:pt x="2251389" y="157151"/>
                  <a:pt x="2252145" y="158662"/>
                </a:cubicBezTo>
                <a:cubicBezTo>
                  <a:pt x="2253656" y="161684"/>
                  <a:pt x="2255923" y="164706"/>
                  <a:pt x="2257433" y="168484"/>
                </a:cubicBezTo>
                <a:cubicBezTo>
                  <a:pt x="2258189" y="169995"/>
                  <a:pt x="2258945" y="170750"/>
                  <a:pt x="2259700" y="172261"/>
                </a:cubicBezTo>
                <a:cubicBezTo>
                  <a:pt x="2310319" y="262925"/>
                  <a:pt x="2339027" y="366433"/>
                  <a:pt x="2339027" y="477497"/>
                </a:cubicBezTo>
                <a:cubicBezTo>
                  <a:pt x="2339027" y="587804"/>
                  <a:pt x="2310319" y="692068"/>
                  <a:pt x="2259700" y="781976"/>
                </a:cubicBezTo>
                <a:cubicBezTo>
                  <a:pt x="2256678" y="788020"/>
                  <a:pt x="2253656" y="793309"/>
                  <a:pt x="2249879" y="799353"/>
                </a:cubicBezTo>
                <a:cubicBezTo>
                  <a:pt x="2199260" y="889262"/>
                  <a:pt x="2170551" y="993525"/>
                  <a:pt x="2170551" y="1103833"/>
                </a:cubicBezTo>
                <a:cubicBezTo>
                  <a:pt x="2170551" y="1214896"/>
                  <a:pt x="2199260" y="1318404"/>
                  <a:pt x="2249879" y="1409068"/>
                </a:cubicBezTo>
                <a:cubicBezTo>
                  <a:pt x="2253656" y="1414357"/>
                  <a:pt x="2256678" y="1420401"/>
                  <a:pt x="2259700" y="1425690"/>
                </a:cubicBezTo>
                <a:cubicBezTo>
                  <a:pt x="2345071" y="1567730"/>
                  <a:pt x="2484839" y="1673504"/>
                  <a:pt x="2649538" y="1712792"/>
                </a:cubicBezTo>
                <a:lnTo>
                  <a:pt x="2649538" y="3263900"/>
                </a:lnTo>
                <a:cubicBezTo>
                  <a:pt x="2649538" y="3263900"/>
                  <a:pt x="2649538" y="3263900"/>
                  <a:pt x="942108" y="3263900"/>
                </a:cubicBezTo>
                <a:cubicBezTo>
                  <a:pt x="942108" y="3263900"/>
                  <a:pt x="942108" y="3263900"/>
                  <a:pt x="323354" y="2905778"/>
                </a:cubicBezTo>
                <a:cubicBezTo>
                  <a:pt x="129946" y="2799248"/>
                  <a:pt x="0" y="2593743"/>
                  <a:pt x="0" y="2357261"/>
                </a:cubicBezTo>
                <a:cubicBezTo>
                  <a:pt x="0" y="2357261"/>
                  <a:pt x="0" y="2357261"/>
                  <a:pt x="0" y="2349706"/>
                </a:cubicBezTo>
                <a:cubicBezTo>
                  <a:pt x="756" y="2243176"/>
                  <a:pt x="28709" y="2143446"/>
                  <a:pt x="77061" y="2055804"/>
                </a:cubicBezTo>
                <a:cubicBezTo>
                  <a:pt x="81594" y="2048249"/>
                  <a:pt x="85372" y="2039938"/>
                  <a:pt x="90660" y="2032382"/>
                </a:cubicBezTo>
                <a:cubicBezTo>
                  <a:pt x="139768" y="1943230"/>
                  <a:pt x="167721" y="1839722"/>
                  <a:pt x="167721" y="1730925"/>
                </a:cubicBezTo>
                <a:cubicBezTo>
                  <a:pt x="167721" y="1621373"/>
                  <a:pt x="139768" y="1518620"/>
                  <a:pt x="90660" y="1429468"/>
                </a:cubicBezTo>
                <a:cubicBezTo>
                  <a:pt x="85372" y="1421157"/>
                  <a:pt x="81594" y="1413601"/>
                  <a:pt x="77061" y="1406046"/>
                </a:cubicBezTo>
                <a:cubicBezTo>
                  <a:pt x="28709" y="1318404"/>
                  <a:pt x="756" y="1217918"/>
                  <a:pt x="0" y="1111388"/>
                </a:cubicBezTo>
                <a:cubicBezTo>
                  <a:pt x="0" y="1111388"/>
                  <a:pt x="0" y="1111388"/>
                  <a:pt x="0" y="1103833"/>
                </a:cubicBezTo>
                <a:cubicBezTo>
                  <a:pt x="0" y="868107"/>
                  <a:pt x="129946" y="662602"/>
                  <a:pt x="323354" y="555316"/>
                </a:cubicBezTo>
                <a:cubicBezTo>
                  <a:pt x="815940" y="271236"/>
                  <a:pt x="855981" y="247815"/>
                  <a:pt x="1285861" y="0"/>
                </a:cubicBezTo>
                <a:close/>
              </a:path>
            </a:pathLst>
          </a:custGeom>
        </p:spPr>
        <p:txBody>
          <a:bodyPr wrap="square" tIns="23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orange balloon&#10;&#10;Description automatically generated">
            <a:extLst>
              <a:ext uri="{FF2B5EF4-FFF2-40B4-BE49-F238E27FC236}">
                <a16:creationId xmlns:a16="http://schemas.microsoft.com/office/drawing/2014/main" id="{34032CAB-E697-0EB5-3A72-119C2294E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1"/>
          <a:stretch/>
        </p:blipFill>
        <p:spPr>
          <a:xfrm>
            <a:off x="7338727" y="-1"/>
            <a:ext cx="4853273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A746F40-D9E5-EE54-9147-0C10275E9B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84AD74C-D134-954A-A43E-286899A1AE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11672BA-6F75-11F6-0CF9-BA902D3E2D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72550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Tabelle durch Klicken auf Symbol hinzufügen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1EAC1AC-EEBE-D382-F66C-C7D0E767E6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3" name="Picture Placeholder 17">
            <a:extLst>
              <a:ext uri="{FF2B5EF4-FFF2-40B4-BE49-F238E27FC236}">
                <a16:creationId xmlns:a16="http://schemas.microsoft.com/office/drawing/2014/main" id="{AB93F112-F5A8-1616-4D16-ECB2D1CC90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DC43B5-67D5-AA80-C84F-7060160A12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359161E4-197E-88D5-EB0B-C36268C218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6E19C4-9AFE-5056-A55F-4894FFB1A7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355607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olorful background with different shapes&#10;&#10;Description automatically generated with medium confidence">
            <a:extLst>
              <a:ext uri="{FF2B5EF4-FFF2-40B4-BE49-F238E27FC236}">
                <a16:creationId xmlns:a16="http://schemas.microsoft.com/office/drawing/2014/main" id="{41CB0998-F869-8C2B-5155-25159CF65E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0"/>
            <a:ext cx="53721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589345-13E4-62CF-B79D-B205E513A2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34313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urved lines on a white background&#10;&#10;Description automatically generated">
            <a:extLst>
              <a:ext uri="{FF2B5EF4-FFF2-40B4-BE49-F238E27FC236}">
                <a16:creationId xmlns:a16="http://schemas.microsoft.com/office/drawing/2014/main" id="{8139B06D-7A56-C332-8F4A-833416AF8A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250" y="0"/>
            <a:ext cx="72707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16CB2F5-C0C9-F0F5-7704-34DB09B098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2078" y="0"/>
            <a:ext cx="4989922" cy="4664984"/>
          </a:xfrm>
          <a:custGeom>
            <a:avLst/>
            <a:gdLst>
              <a:gd name="connsiteX0" fmla="*/ 1754568 w 5022410"/>
              <a:gd name="connsiteY0" fmla="*/ 4150388 h 4695356"/>
              <a:gd name="connsiteX1" fmla="*/ 1786212 w 5022410"/>
              <a:gd name="connsiteY1" fmla="*/ 4166845 h 4695356"/>
              <a:gd name="connsiteX2" fmla="*/ 1792919 w 5022410"/>
              <a:gd name="connsiteY2" fmla="*/ 4171164 h 4695356"/>
              <a:gd name="connsiteX3" fmla="*/ 1754568 w 5022410"/>
              <a:gd name="connsiteY3" fmla="*/ 4150388 h 4695356"/>
              <a:gd name="connsiteX4" fmla="*/ 137425 w 5022410"/>
              <a:gd name="connsiteY4" fmla="*/ 0 h 4695356"/>
              <a:gd name="connsiteX5" fmla="*/ 158947 w 5022410"/>
              <a:gd name="connsiteY5" fmla="*/ 0 h 4695356"/>
              <a:gd name="connsiteX6" fmla="*/ 5022410 w 5022410"/>
              <a:gd name="connsiteY6" fmla="*/ 0 h 4695356"/>
              <a:gd name="connsiteX7" fmla="*/ 5022410 w 5022410"/>
              <a:gd name="connsiteY7" fmla="*/ 4446045 h 4695356"/>
              <a:gd name="connsiteX8" fmla="*/ 3689706 w 5022410"/>
              <a:gd name="connsiteY8" fmla="*/ 4695356 h 4695356"/>
              <a:gd name="connsiteX9" fmla="*/ 3032941 w 5022410"/>
              <a:gd name="connsiteY9" fmla="*/ 4637823 h 4695356"/>
              <a:gd name="connsiteX10" fmla="*/ 1794517 w 5022410"/>
              <a:gd name="connsiteY10" fmla="*/ 4171164 h 4695356"/>
              <a:gd name="connsiteX11" fmla="*/ 1786212 w 5022410"/>
              <a:gd name="connsiteY11" fmla="*/ 4166845 h 4695356"/>
              <a:gd name="connsiteX12" fmla="*/ 1595821 w 5022410"/>
              <a:gd name="connsiteY12" fmla="*/ 4044239 h 4695356"/>
              <a:gd name="connsiteX13" fmla="*/ 0 w 5022410"/>
              <a:gd name="connsiteY13" fmla="*/ 1005235 h 4695356"/>
              <a:gd name="connsiteX14" fmla="*/ 137425 w 5022410"/>
              <a:gd name="connsiteY14" fmla="*/ 0 h 4695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022410" h="4695356">
                <a:moveTo>
                  <a:pt x="1754568" y="4150388"/>
                </a:moveTo>
                <a:lnTo>
                  <a:pt x="1786212" y="4166845"/>
                </a:lnTo>
                <a:lnTo>
                  <a:pt x="1792919" y="4171164"/>
                </a:lnTo>
                <a:cubicBezTo>
                  <a:pt x="1780135" y="4164771"/>
                  <a:pt x="1767351" y="4156781"/>
                  <a:pt x="1754568" y="4150388"/>
                </a:cubicBezTo>
                <a:close/>
                <a:moveTo>
                  <a:pt x="137425" y="0"/>
                </a:moveTo>
                <a:lnTo>
                  <a:pt x="158947" y="0"/>
                </a:lnTo>
                <a:cubicBezTo>
                  <a:pt x="791844" y="0"/>
                  <a:pt x="2142025" y="0"/>
                  <a:pt x="5022410" y="0"/>
                </a:cubicBezTo>
                <a:cubicBezTo>
                  <a:pt x="5022410" y="0"/>
                  <a:pt x="5022410" y="0"/>
                  <a:pt x="5022410" y="4446045"/>
                </a:cubicBezTo>
                <a:cubicBezTo>
                  <a:pt x="4610135" y="4607458"/>
                  <a:pt x="4159508" y="4695356"/>
                  <a:pt x="3689706" y="4695356"/>
                </a:cubicBezTo>
                <a:cubicBezTo>
                  <a:pt x="3465990" y="4695356"/>
                  <a:pt x="3247069" y="4674580"/>
                  <a:pt x="3032941" y="4637823"/>
                </a:cubicBezTo>
                <a:cubicBezTo>
                  <a:pt x="2627058" y="4564308"/>
                  <a:pt x="2142874" y="4366138"/>
                  <a:pt x="1794517" y="4171164"/>
                </a:cubicBezTo>
                <a:lnTo>
                  <a:pt x="1786212" y="4166845"/>
                </a:lnTo>
                <a:lnTo>
                  <a:pt x="1595821" y="4044239"/>
                </a:lnTo>
                <a:cubicBezTo>
                  <a:pt x="632008" y="3379232"/>
                  <a:pt x="0" y="2265274"/>
                  <a:pt x="0" y="1005235"/>
                </a:cubicBezTo>
                <a:cubicBezTo>
                  <a:pt x="0" y="656839"/>
                  <a:pt x="47939" y="319629"/>
                  <a:pt x="137425" y="0"/>
                </a:cubicBezTo>
                <a:close/>
              </a:path>
            </a:pathLst>
          </a:custGeom>
        </p:spPr>
        <p:txBody>
          <a:bodyPr wrap="square" tIns="198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8F8112-3E6F-0B09-BF70-1A5D321C9B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04684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421656"/>
            <a:ext cx="5705475" cy="1231106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000" spc="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r reactive use only - Not for further distribu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96862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DBD6D8B-48F1-5D66-CD84-ED9EFC62A6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7" y="6051550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8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2144767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A pink and yellow curved lines&#10;&#10;Description automatically generated">
            <a:extLst>
              <a:ext uri="{FF2B5EF4-FFF2-40B4-BE49-F238E27FC236}">
                <a16:creationId xmlns:a16="http://schemas.microsoft.com/office/drawing/2014/main" id="{DA20FD86-A83E-2069-7629-2BC51FEC48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179" y="-40256"/>
            <a:ext cx="4004821" cy="6898256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25FF0EA-7AED-C788-207F-C0C0170851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47675" y="-14140"/>
            <a:ext cx="5929706" cy="4336318"/>
          </a:xfrm>
          <a:custGeom>
            <a:avLst/>
            <a:gdLst>
              <a:gd name="connsiteX0" fmla="*/ 944436 w 6108785"/>
              <a:gd name="connsiteY0" fmla="*/ 0 h 4467276"/>
              <a:gd name="connsiteX1" fmla="*/ 6108785 w 6108785"/>
              <a:gd name="connsiteY1" fmla="*/ 0 h 4467276"/>
              <a:gd name="connsiteX2" fmla="*/ 5769629 w 6108785"/>
              <a:gd name="connsiteY2" fmla="*/ 357251 h 4467276"/>
              <a:gd name="connsiteX3" fmla="*/ 5712284 w 6108785"/>
              <a:gd name="connsiteY3" fmla="*/ 444106 h 4467276"/>
              <a:gd name="connsiteX4" fmla="*/ 5707368 w 6108785"/>
              <a:gd name="connsiteY4" fmla="*/ 453938 h 4467276"/>
              <a:gd name="connsiteX5" fmla="*/ 5687707 w 6108785"/>
              <a:gd name="connsiteY5" fmla="*/ 488352 h 4467276"/>
              <a:gd name="connsiteX6" fmla="*/ 5700814 w 6108785"/>
              <a:gd name="connsiteY6" fmla="*/ 2050096 h 4467276"/>
              <a:gd name="connsiteX7" fmla="*/ 5912172 w 6108785"/>
              <a:gd name="connsiteY7" fmla="*/ 2900616 h 4467276"/>
              <a:gd name="connsiteX8" fmla="*/ 5910534 w 6108785"/>
              <a:gd name="connsiteY8" fmla="*/ 2913726 h 4467276"/>
              <a:gd name="connsiteX9" fmla="*/ 5854828 w 6108785"/>
              <a:gd name="connsiteY9" fmla="*/ 3264422 h 4467276"/>
              <a:gd name="connsiteX10" fmla="*/ 5712284 w 6108785"/>
              <a:gd name="connsiteY10" fmla="*/ 3613479 h 4467276"/>
              <a:gd name="connsiteX11" fmla="*/ 5707368 w 6108785"/>
              <a:gd name="connsiteY11" fmla="*/ 3623312 h 4467276"/>
              <a:gd name="connsiteX12" fmla="*/ 5687707 w 6108785"/>
              <a:gd name="connsiteY12" fmla="*/ 3656087 h 4467276"/>
              <a:gd name="connsiteX13" fmla="*/ 5120809 w 6108785"/>
              <a:gd name="connsiteY13" fmla="*/ 4214906 h 4467276"/>
              <a:gd name="connsiteX14" fmla="*/ 4958603 w 6108785"/>
              <a:gd name="connsiteY14" fmla="*/ 4296845 h 4467276"/>
              <a:gd name="connsiteX15" fmla="*/ 4953688 w 6108785"/>
              <a:gd name="connsiteY15" fmla="*/ 4298483 h 4467276"/>
              <a:gd name="connsiteX16" fmla="*/ 4911089 w 6108785"/>
              <a:gd name="connsiteY16" fmla="*/ 4316510 h 4467276"/>
              <a:gd name="connsiteX17" fmla="*/ 4614532 w 6108785"/>
              <a:gd name="connsiteY17" fmla="*/ 4401726 h 4467276"/>
              <a:gd name="connsiteX18" fmla="*/ 4354021 w 6108785"/>
              <a:gd name="connsiteY18" fmla="*/ 4426307 h 4467276"/>
              <a:gd name="connsiteX19" fmla="*/ 4335998 w 6108785"/>
              <a:gd name="connsiteY19" fmla="*/ 4427946 h 4467276"/>
              <a:gd name="connsiteX20" fmla="*/ 4303229 w 6108785"/>
              <a:gd name="connsiteY20" fmla="*/ 4427946 h 4467276"/>
              <a:gd name="connsiteX21" fmla="*/ 4301591 w 6108785"/>
              <a:gd name="connsiteY21" fmla="*/ 4427946 h 4467276"/>
              <a:gd name="connsiteX22" fmla="*/ 4267184 w 6108785"/>
              <a:gd name="connsiteY22" fmla="*/ 4427946 h 4467276"/>
              <a:gd name="connsiteX23" fmla="*/ 4258991 w 6108785"/>
              <a:gd name="connsiteY23" fmla="*/ 4427946 h 4467276"/>
              <a:gd name="connsiteX24" fmla="*/ 4224584 w 6108785"/>
              <a:gd name="connsiteY24" fmla="*/ 4429585 h 4467276"/>
              <a:gd name="connsiteX25" fmla="*/ 4216392 w 6108785"/>
              <a:gd name="connsiteY25" fmla="*/ 4431223 h 4467276"/>
              <a:gd name="connsiteX26" fmla="*/ 4180346 w 6108785"/>
              <a:gd name="connsiteY26" fmla="*/ 4434501 h 4467276"/>
              <a:gd name="connsiteX27" fmla="*/ 4177070 w 6108785"/>
              <a:gd name="connsiteY27" fmla="*/ 4434501 h 4467276"/>
              <a:gd name="connsiteX28" fmla="*/ 4142662 w 6108785"/>
              <a:gd name="connsiteY28" fmla="*/ 4437778 h 4467276"/>
              <a:gd name="connsiteX29" fmla="*/ 4136109 w 6108785"/>
              <a:gd name="connsiteY29" fmla="*/ 4437778 h 4467276"/>
              <a:gd name="connsiteX30" fmla="*/ 4100063 w 6108785"/>
              <a:gd name="connsiteY30" fmla="*/ 4442695 h 4467276"/>
              <a:gd name="connsiteX31" fmla="*/ 4093509 w 6108785"/>
              <a:gd name="connsiteY31" fmla="*/ 4444334 h 4467276"/>
              <a:gd name="connsiteX32" fmla="*/ 4055825 w 6108785"/>
              <a:gd name="connsiteY32" fmla="*/ 4450889 h 4467276"/>
              <a:gd name="connsiteX33" fmla="*/ 4052548 w 6108785"/>
              <a:gd name="connsiteY33" fmla="*/ 4450889 h 4467276"/>
              <a:gd name="connsiteX34" fmla="*/ 4018141 w 6108785"/>
              <a:gd name="connsiteY34" fmla="*/ 4457444 h 4467276"/>
              <a:gd name="connsiteX35" fmla="*/ 4013226 w 6108785"/>
              <a:gd name="connsiteY35" fmla="*/ 4459082 h 4467276"/>
              <a:gd name="connsiteX36" fmla="*/ 3977180 w 6108785"/>
              <a:gd name="connsiteY36" fmla="*/ 4465637 h 4467276"/>
              <a:gd name="connsiteX37" fmla="*/ 3973903 w 6108785"/>
              <a:gd name="connsiteY37" fmla="*/ 4467276 h 4467276"/>
              <a:gd name="connsiteX38" fmla="*/ 3472542 w 6108785"/>
              <a:gd name="connsiteY38" fmla="*/ 4180492 h 4467276"/>
              <a:gd name="connsiteX39" fmla="*/ 1401560 w 6108785"/>
              <a:gd name="connsiteY39" fmla="*/ 2992387 h 4467276"/>
              <a:gd name="connsiteX40" fmla="*/ 1236078 w 6108785"/>
              <a:gd name="connsiteY40" fmla="*/ 2897338 h 4467276"/>
              <a:gd name="connsiteX41" fmla="*/ 264485 w 6108785"/>
              <a:gd name="connsiteY41" fmla="*/ 2133673 h 4467276"/>
              <a:gd name="connsiteX42" fmla="*/ 207140 w 6108785"/>
              <a:gd name="connsiteY42" fmla="*/ 439189 h 4467276"/>
              <a:gd name="connsiteX43" fmla="*/ 631495 w 6108785"/>
              <a:gd name="connsiteY43" fmla="*/ 31137 h 4467276"/>
              <a:gd name="connsiteX44" fmla="*/ 944436 w 6108785"/>
              <a:gd name="connsiteY44" fmla="*/ 0 h 4467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108785" h="4467276">
                <a:moveTo>
                  <a:pt x="944436" y="0"/>
                </a:moveTo>
                <a:cubicBezTo>
                  <a:pt x="2666432" y="0"/>
                  <a:pt x="4386789" y="0"/>
                  <a:pt x="6108785" y="0"/>
                </a:cubicBezTo>
                <a:cubicBezTo>
                  <a:pt x="5974434" y="103242"/>
                  <a:pt x="5861381" y="222872"/>
                  <a:pt x="5769629" y="357251"/>
                </a:cubicBezTo>
                <a:cubicBezTo>
                  <a:pt x="5749968" y="385110"/>
                  <a:pt x="5730306" y="414608"/>
                  <a:pt x="5712284" y="444106"/>
                </a:cubicBezTo>
                <a:cubicBezTo>
                  <a:pt x="5710645" y="447383"/>
                  <a:pt x="5709006" y="450661"/>
                  <a:pt x="5707368" y="453938"/>
                </a:cubicBezTo>
                <a:cubicBezTo>
                  <a:pt x="5700814" y="465410"/>
                  <a:pt x="5694261" y="476881"/>
                  <a:pt x="5687707" y="488352"/>
                </a:cubicBezTo>
                <a:cubicBezTo>
                  <a:pt x="5427196" y="958678"/>
                  <a:pt x="5412450" y="1550273"/>
                  <a:pt x="5700814" y="2050096"/>
                </a:cubicBezTo>
                <a:cubicBezTo>
                  <a:pt x="5854828" y="2318854"/>
                  <a:pt x="5922004" y="2613832"/>
                  <a:pt x="5912172" y="2900616"/>
                </a:cubicBezTo>
                <a:cubicBezTo>
                  <a:pt x="5910534" y="2905532"/>
                  <a:pt x="5910534" y="2908810"/>
                  <a:pt x="5910534" y="2913726"/>
                </a:cubicBezTo>
                <a:cubicBezTo>
                  <a:pt x="5892512" y="3030078"/>
                  <a:pt x="5874488" y="3148070"/>
                  <a:pt x="5854828" y="3264422"/>
                </a:cubicBezTo>
                <a:cubicBezTo>
                  <a:pt x="5822059" y="3385691"/>
                  <a:pt x="5774544" y="3502043"/>
                  <a:pt x="5712284" y="3613479"/>
                </a:cubicBezTo>
                <a:cubicBezTo>
                  <a:pt x="5710645" y="3616757"/>
                  <a:pt x="5709006" y="3620034"/>
                  <a:pt x="5707368" y="3623312"/>
                </a:cubicBezTo>
                <a:cubicBezTo>
                  <a:pt x="5700814" y="3634783"/>
                  <a:pt x="5694261" y="3646254"/>
                  <a:pt x="5687707" y="3656087"/>
                </a:cubicBezTo>
                <a:cubicBezTo>
                  <a:pt x="5553356" y="3880598"/>
                  <a:pt x="5363297" y="4075611"/>
                  <a:pt x="5120809" y="4214906"/>
                </a:cubicBezTo>
                <a:cubicBezTo>
                  <a:pt x="5066740" y="4246043"/>
                  <a:pt x="5014310" y="4272263"/>
                  <a:pt x="4958603" y="4296845"/>
                </a:cubicBezTo>
                <a:cubicBezTo>
                  <a:pt x="4956965" y="4296845"/>
                  <a:pt x="4955327" y="4298483"/>
                  <a:pt x="4953688" y="4298483"/>
                </a:cubicBezTo>
                <a:cubicBezTo>
                  <a:pt x="4938942" y="4305038"/>
                  <a:pt x="4925835" y="4309955"/>
                  <a:pt x="4911089" y="4316510"/>
                </a:cubicBezTo>
                <a:cubicBezTo>
                  <a:pt x="4814421" y="4354201"/>
                  <a:pt x="4714477" y="4383699"/>
                  <a:pt x="4614532" y="4401726"/>
                </a:cubicBezTo>
                <a:cubicBezTo>
                  <a:pt x="4527695" y="4418113"/>
                  <a:pt x="4440858" y="4426307"/>
                  <a:pt x="4354021" y="4426307"/>
                </a:cubicBezTo>
                <a:cubicBezTo>
                  <a:pt x="4347467" y="4427946"/>
                  <a:pt x="4340913" y="4427946"/>
                  <a:pt x="4335998" y="4427946"/>
                </a:cubicBezTo>
                <a:cubicBezTo>
                  <a:pt x="4324529" y="4427946"/>
                  <a:pt x="4314698" y="4427946"/>
                  <a:pt x="4303229" y="4427946"/>
                </a:cubicBezTo>
                <a:cubicBezTo>
                  <a:pt x="4303229" y="4427946"/>
                  <a:pt x="4303229" y="4427946"/>
                  <a:pt x="4301591" y="4427946"/>
                </a:cubicBezTo>
                <a:cubicBezTo>
                  <a:pt x="4290122" y="4427946"/>
                  <a:pt x="4278653" y="4427946"/>
                  <a:pt x="4267184" y="4427946"/>
                </a:cubicBezTo>
                <a:cubicBezTo>
                  <a:pt x="4263907" y="4427946"/>
                  <a:pt x="4262268" y="4427946"/>
                  <a:pt x="4258991" y="4427946"/>
                </a:cubicBezTo>
                <a:cubicBezTo>
                  <a:pt x="4247522" y="4429585"/>
                  <a:pt x="4236053" y="4429585"/>
                  <a:pt x="4224584" y="4429585"/>
                </a:cubicBezTo>
                <a:cubicBezTo>
                  <a:pt x="4221307" y="4431223"/>
                  <a:pt x="4218031" y="4431223"/>
                  <a:pt x="4216392" y="4431223"/>
                </a:cubicBezTo>
                <a:cubicBezTo>
                  <a:pt x="4204923" y="4431223"/>
                  <a:pt x="4191816" y="4432862"/>
                  <a:pt x="4180346" y="4434501"/>
                </a:cubicBezTo>
                <a:cubicBezTo>
                  <a:pt x="4178708" y="4434501"/>
                  <a:pt x="4178708" y="4434501"/>
                  <a:pt x="4177070" y="4434501"/>
                </a:cubicBezTo>
                <a:cubicBezTo>
                  <a:pt x="4165601" y="4434501"/>
                  <a:pt x="4154132" y="4436140"/>
                  <a:pt x="4142662" y="4437778"/>
                </a:cubicBezTo>
                <a:cubicBezTo>
                  <a:pt x="4139386" y="4437778"/>
                  <a:pt x="4137747" y="4437778"/>
                  <a:pt x="4136109" y="4437778"/>
                </a:cubicBezTo>
                <a:cubicBezTo>
                  <a:pt x="4123001" y="4439417"/>
                  <a:pt x="4111532" y="4441056"/>
                  <a:pt x="4100063" y="4442695"/>
                </a:cubicBezTo>
                <a:cubicBezTo>
                  <a:pt x="4096786" y="4444334"/>
                  <a:pt x="4095148" y="4444334"/>
                  <a:pt x="4093509" y="4444334"/>
                </a:cubicBezTo>
                <a:cubicBezTo>
                  <a:pt x="4080402" y="4445972"/>
                  <a:pt x="4068933" y="4447611"/>
                  <a:pt x="4055825" y="4450889"/>
                </a:cubicBezTo>
                <a:cubicBezTo>
                  <a:pt x="4055825" y="4450889"/>
                  <a:pt x="4054187" y="4450889"/>
                  <a:pt x="4052548" y="4450889"/>
                </a:cubicBezTo>
                <a:cubicBezTo>
                  <a:pt x="4041079" y="4452527"/>
                  <a:pt x="4029610" y="4455805"/>
                  <a:pt x="4018141" y="4457444"/>
                </a:cubicBezTo>
                <a:cubicBezTo>
                  <a:pt x="4016503" y="4457444"/>
                  <a:pt x="4014864" y="4457444"/>
                  <a:pt x="4013226" y="4459082"/>
                </a:cubicBezTo>
                <a:cubicBezTo>
                  <a:pt x="4000118" y="4460721"/>
                  <a:pt x="3988649" y="4463999"/>
                  <a:pt x="3977180" y="4465637"/>
                </a:cubicBezTo>
                <a:cubicBezTo>
                  <a:pt x="3975542" y="4467276"/>
                  <a:pt x="3973903" y="4467276"/>
                  <a:pt x="3973903" y="4467276"/>
                </a:cubicBezTo>
                <a:lnTo>
                  <a:pt x="3472542" y="4180492"/>
                </a:lnTo>
                <a:cubicBezTo>
                  <a:pt x="2782761" y="3785549"/>
                  <a:pt x="2092979" y="3388968"/>
                  <a:pt x="1401560" y="2992387"/>
                </a:cubicBezTo>
                <a:cubicBezTo>
                  <a:pt x="1345853" y="2959611"/>
                  <a:pt x="1291784" y="2928475"/>
                  <a:pt x="1236078" y="2897338"/>
                </a:cubicBezTo>
                <a:cubicBezTo>
                  <a:pt x="875622" y="2689215"/>
                  <a:pt x="503697" y="2472898"/>
                  <a:pt x="264485" y="2133673"/>
                </a:cubicBezTo>
                <a:cubicBezTo>
                  <a:pt x="-77948" y="1646960"/>
                  <a:pt x="-77948" y="961956"/>
                  <a:pt x="207140" y="439189"/>
                </a:cubicBezTo>
                <a:cubicBezTo>
                  <a:pt x="303808" y="262203"/>
                  <a:pt x="439798" y="93410"/>
                  <a:pt x="631495" y="31137"/>
                </a:cubicBezTo>
                <a:cubicBezTo>
                  <a:pt x="731440" y="0"/>
                  <a:pt x="839576" y="0"/>
                  <a:pt x="944436" y="0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E9D2E9-D355-BF18-26E2-236ABE0FD3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5907525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a white and pink wave&#10;&#10;Description automatically generated with medium confidence">
            <a:extLst>
              <a:ext uri="{FF2B5EF4-FFF2-40B4-BE49-F238E27FC236}">
                <a16:creationId xmlns:a16="http://schemas.microsoft.com/office/drawing/2014/main" id="{70D8D136-4010-BE0C-623D-075EEC1A80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697" y="0"/>
            <a:ext cx="5708303" cy="321925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335E727-D0FB-7AFB-1BD0-97F4DAA8C6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39666" y="2116371"/>
            <a:ext cx="3552334" cy="4741629"/>
          </a:xfrm>
          <a:custGeom>
            <a:avLst/>
            <a:gdLst>
              <a:gd name="connsiteX0" fmla="*/ 1583776 w 2986706"/>
              <a:gd name="connsiteY0" fmla="*/ 24 h 3986633"/>
              <a:gd name="connsiteX1" fmla="*/ 2155464 w 2986706"/>
              <a:gd name="connsiteY1" fmla="*/ 112872 h 3986633"/>
              <a:gd name="connsiteX2" fmla="*/ 2199565 w 2986706"/>
              <a:gd name="connsiteY2" fmla="*/ 131573 h 3986633"/>
              <a:gd name="connsiteX3" fmla="*/ 2528320 w 2986706"/>
              <a:gd name="connsiteY3" fmla="*/ 329268 h 3986633"/>
              <a:gd name="connsiteX4" fmla="*/ 2553712 w 2986706"/>
              <a:gd name="connsiteY4" fmla="*/ 350641 h 3986633"/>
              <a:gd name="connsiteX5" fmla="*/ 2585785 w 2986706"/>
              <a:gd name="connsiteY5" fmla="*/ 377356 h 3986633"/>
              <a:gd name="connsiteX6" fmla="*/ 2804955 w 2986706"/>
              <a:gd name="connsiteY6" fmla="*/ 612453 h 3986633"/>
              <a:gd name="connsiteX7" fmla="*/ 2986706 w 2986706"/>
              <a:gd name="connsiteY7" fmla="*/ 921019 h 3986633"/>
              <a:gd name="connsiteX8" fmla="*/ 2986706 w 2986706"/>
              <a:gd name="connsiteY8" fmla="*/ 3986633 h 3986633"/>
              <a:gd name="connsiteX9" fmla="*/ 988784 w 2986706"/>
              <a:gd name="connsiteY9" fmla="*/ 3986633 h 3986633"/>
              <a:gd name="connsiteX10" fmla="*/ 661366 w 2986706"/>
              <a:gd name="connsiteY10" fmla="*/ 3521782 h 3986633"/>
              <a:gd name="connsiteX11" fmla="*/ 41275 w 2986706"/>
              <a:gd name="connsiteY11" fmla="*/ 1749202 h 3986633"/>
              <a:gd name="connsiteX12" fmla="*/ 47957 w 2986706"/>
              <a:gd name="connsiteY12" fmla="*/ 585738 h 3986633"/>
              <a:gd name="connsiteX13" fmla="*/ 50630 w 2986706"/>
              <a:gd name="connsiteY13" fmla="*/ 584402 h 3986633"/>
              <a:gd name="connsiteX14" fmla="*/ 86712 w 2986706"/>
              <a:gd name="connsiteY14" fmla="*/ 576387 h 3986633"/>
              <a:gd name="connsiteX15" fmla="*/ 90722 w 2986706"/>
              <a:gd name="connsiteY15" fmla="*/ 575052 h 3986633"/>
              <a:gd name="connsiteX16" fmla="*/ 125468 w 2986706"/>
              <a:gd name="connsiteY16" fmla="*/ 567037 h 3986633"/>
              <a:gd name="connsiteX17" fmla="*/ 128141 w 2986706"/>
              <a:gd name="connsiteY17" fmla="*/ 565701 h 3986633"/>
              <a:gd name="connsiteX18" fmla="*/ 162887 w 2986706"/>
              <a:gd name="connsiteY18" fmla="*/ 556351 h 3986633"/>
              <a:gd name="connsiteX19" fmla="*/ 169569 w 2986706"/>
              <a:gd name="connsiteY19" fmla="*/ 553679 h 3986633"/>
              <a:gd name="connsiteX20" fmla="*/ 204316 w 2986706"/>
              <a:gd name="connsiteY20" fmla="*/ 542993 h 3986633"/>
              <a:gd name="connsiteX21" fmla="*/ 208325 w 2986706"/>
              <a:gd name="connsiteY21" fmla="*/ 541657 h 3986633"/>
              <a:gd name="connsiteX22" fmla="*/ 241735 w 2986706"/>
              <a:gd name="connsiteY22" fmla="*/ 529635 h 3986633"/>
              <a:gd name="connsiteX23" fmla="*/ 245744 w 2986706"/>
              <a:gd name="connsiteY23" fmla="*/ 528299 h 3986633"/>
              <a:gd name="connsiteX24" fmla="*/ 280491 w 2986706"/>
              <a:gd name="connsiteY24" fmla="*/ 516277 h 3986633"/>
              <a:gd name="connsiteX25" fmla="*/ 285836 w 2986706"/>
              <a:gd name="connsiteY25" fmla="*/ 513606 h 3986633"/>
              <a:gd name="connsiteX26" fmla="*/ 320583 w 2986706"/>
              <a:gd name="connsiteY26" fmla="*/ 500248 h 3986633"/>
              <a:gd name="connsiteX27" fmla="*/ 323256 w 2986706"/>
              <a:gd name="connsiteY27" fmla="*/ 498912 h 3986633"/>
              <a:gd name="connsiteX28" fmla="*/ 355329 w 2986706"/>
              <a:gd name="connsiteY28" fmla="*/ 484219 h 3986633"/>
              <a:gd name="connsiteX29" fmla="*/ 360675 w 2986706"/>
              <a:gd name="connsiteY29" fmla="*/ 481547 h 3986633"/>
              <a:gd name="connsiteX30" fmla="*/ 394085 w 2986706"/>
              <a:gd name="connsiteY30" fmla="*/ 466853 h 3986633"/>
              <a:gd name="connsiteX31" fmla="*/ 399431 w 2986706"/>
              <a:gd name="connsiteY31" fmla="*/ 462846 h 3986633"/>
              <a:gd name="connsiteX32" fmla="*/ 432841 w 2986706"/>
              <a:gd name="connsiteY32" fmla="*/ 446817 h 3986633"/>
              <a:gd name="connsiteX33" fmla="*/ 435514 w 2986706"/>
              <a:gd name="connsiteY33" fmla="*/ 445481 h 3986633"/>
              <a:gd name="connsiteX34" fmla="*/ 467587 w 2986706"/>
              <a:gd name="connsiteY34" fmla="*/ 428116 h 3986633"/>
              <a:gd name="connsiteX35" fmla="*/ 472933 w 2986706"/>
              <a:gd name="connsiteY35" fmla="*/ 425444 h 3986633"/>
              <a:gd name="connsiteX36" fmla="*/ 505006 w 2986706"/>
              <a:gd name="connsiteY36" fmla="*/ 406743 h 3986633"/>
              <a:gd name="connsiteX37" fmla="*/ 510352 w 2986706"/>
              <a:gd name="connsiteY37" fmla="*/ 402736 h 3986633"/>
              <a:gd name="connsiteX38" fmla="*/ 543762 w 2986706"/>
              <a:gd name="connsiteY38" fmla="*/ 382699 h 3986633"/>
              <a:gd name="connsiteX39" fmla="*/ 575836 w 2986706"/>
              <a:gd name="connsiteY39" fmla="*/ 362663 h 3986633"/>
              <a:gd name="connsiteX40" fmla="*/ 581181 w 2986706"/>
              <a:gd name="connsiteY40" fmla="*/ 358655 h 3986633"/>
              <a:gd name="connsiteX41" fmla="*/ 611919 w 2986706"/>
              <a:gd name="connsiteY41" fmla="*/ 337283 h 3986633"/>
              <a:gd name="connsiteX42" fmla="*/ 617264 w 2986706"/>
              <a:gd name="connsiteY42" fmla="*/ 333275 h 3986633"/>
              <a:gd name="connsiteX43" fmla="*/ 649338 w 2986706"/>
              <a:gd name="connsiteY43" fmla="*/ 310567 h 3986633"/>
              <a:gd name="connsiteX44" fmla="*/ 1583776 w 2986706"/>
              <a:gd name="connsiteY44" fmla="*/ 24 h 3986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986706" h="3986633">
                <a:moveTo>
                  <a:pt x="1583776" y="24"/>
                </a:moveTo>
                <a:cubicBezTo>
                  <a:pt x="1779225" y="1105"/>
                  <a:pt x="1973546" y="39237"/>
                  <a:pt x="2155464" y="112872"/>
                </a:cubicBezTo>
                <a:cubicBezTo>
                  <a:pt x="2170164" y="119551"/>
                  <a:pt x="2184865" y="124894"/>
                  <a:pt x="2199565" y="131573"/>
                </a:cubicBezTo>
                <a:cubicBezTo>
                  <a:pt x="2315832" y="183668"/>
                  <a:pt x="2426753" y="249121"/>
                  <a:pt x="2528320" y="329268"/>
                </a:cubicBezTo>
                <a:cubicBezTo>
                  <a:pt x="2537675" y="335947"/>
                  <a:pt x="2545693" y="342626"/>
                  <a:pt x="2553712" y="350641"/>
                </a:cubicBezTo>
                <a:cubicBezTo>
                  <a:pt x="2564403" y="358655"/>
                  <a:pt x="2575094" y="368006"/>
                  <a:pt x="2585785" y="377356"/>
                </a:cubicBezTo>
                <a:cubicBezTo>
                  <a:pt x="2665969" y="446817"/>
                  <a:pt x="2739472" y="525628"/>
                  <a:pt x="2804955" y="612453"/>
                </a:cubicBezTo>
                <a:cubicBezTo>
                  <a:pt x="2878458" y="709965"/>
                  <a:pt x="2938596" y="814156"/>
                  <a:pt x="2986706" y="921019"/>
                </a:cubicBezTo>
                <a:cubicBezTo>
                  <a:pt x="2986706" y="921019"/>
                  <a:pt x="2986706" y="921019"/>
                  <a:pt x="2986706" y="3986633"/>
                </a:cubicBezTo>
                <a:cubicBezTo>
                  <a:pt x="2986706" y="3986633"/>
                  <a:pt x="2986706" y="3986633"/>
                  <a:pt x="988784" y="3986633"/>
                </a:cubicBezTo>
                <a:cubicBezTo>
                  <a:pt x="859153" y="3850384"/>
                  <a:pt x="756250" y="3684747"/>
                  <a:pt x="661366" y="3521782"/>
                </a:cubicBezTo>
                <a:cubicBezTo>
                  <a:pt x="344638" y="2979455"/>
                  <a:pt x="124132" y="2373011"/>
                  <a:pt x="41275" y="1749202"/>
                </a:cubicBezTo>
                <a:cubicBezTo>
                  <a:pt x="-9509" y="1368505"/>
                  <a:pt x="-20200" y="965099"/>
                  <a:pt x="47957" y="585738"/>
                </a:cubicBezTo>
                <a:cubicBezTo>
                  <a:pt x="49293" y="585738"/>
                  <a:pt x="50630" y="584402"/>
                  <a:pt x="50630" y="584402"/>
                </a:cubicBezTo>
                <a:cubicBezTo>
                  <a:pt x="62657" y="581730"/>
                  <a:pt x="74685" y="579059"/>
                  <a:pt x="86712" y="576387"/>
                </a:cubicBezTo>
                <a:cubicBezTo>
                  <a:pt x="88049" y="576387"/>
                  <a:pt x="89385" y="576387"/>
                  <a:pt x="90722" y="575052"/>
                </a:cubicBezTo>
                <a:cubicBezTo>
                  <a:pt x="102749" y="572380"/>
                  <a:pt x="113441" y="569708"/>
                  <a:pt x="125468" y="567037"/>
                </a:cubicBezTo>
                <a:cubicBezTo>
                  <a:pt x="125468" y="567037"/>
                  <a:pt x="126805" y="565701"/>
                  <a:pt x="128141" y="565701"/>
                </a:cubicBezTo>
                <a:cubicBezTo>
                  <a:pt x="140169" y="563030"/>
                  <a:pt x="152196" y="559022"/>
                  <a:pt x="162887" y="556351"/>
                </a:cubicBezTo>
                <a:cubicBezTo>
                  <a:pt x="165560" y="555015"/>
                  <a:pt x="166897" y="555015"/>
                  <a:pt x="169569" y="553679"/>
                </a:cubicBezTo>
                <a:cubicBezTo>
                  <a:pt x="181597" y="551007"/>
                  <a:pt x="192288" y="547000"/>
                  <a:pt x="204316" y="542993"/>
                </a:cubicBezTo>
                <a:cubicBezTo>
                  <a:pt x="205652" y="542993"/>
                  <a:pt x="206989" y="541657"/>
                  <a:pt x="208325" y="541657"/>
                </a:cubicBezTo>
                <a:cubicBezTo>
                  <a:pt x="219016" y="537650"/>
                  <a:pt x="231044" y="533642"/>
                  <a:pt x="241735" y="529635"/>
                </a:cubicBezTo>
                <a:cubicBezTo>
                  <a:pt x="243072" y="529635"/>
                  <a:pt x="244408" y="529635"/>
                  <a:pt x="245744" y="528299"/>
                </a:cubicBezTo>
                <a:cubicBezTo>
                  <a:pt x="256436" y="524292"/>
                  <a:pt x="268463" y="520285"/>
                  <a:pt x="280491" y="516277"/>
                </a:cubicBezTo>
                <a:cubicBezTo>
                  <a:pt x="281827" y="514941"/>
                  <a:pt x="284500" y="514941"/>
                  <a:pt x="285836" y="513606"/>
                </a:cubicBezTo>
                <a:cubicBezTo>
                  <a:pt x="297864" y="509598"/>
                  <a:pt x="308555" y="504255"/>
                  <a:pt x="320583" y="500248"/>
                </a:cubicBezTo>
                <a:cubicBezTo>
                  <a:pt x="320583" y="498912"/>
                  <a:pt x="321919" y="498912"/>
                  <a:pt x="323256" y="498912"/>
                </a:cubicBezTo>
                <a:cubicBezTo>
                  <a:pt x="333947" y="493569"/>
                  <a:pt x="344638" y="489562"/>
                  <a:pt x="355329" y="484219"/>
                </a:cubicBezTo>
                <a:cubicBezTo>
                  <a:pt x="358002" y="482883"/>
                  <a:pt x="359339" y="482883"/>
                  <a:pt x="360675" y="481547"/>
                </a:cubicBezTo>
                <a:cubicBezTo>
                  <a:pt x="371366" y="477540"/>
                  <a:pt x="382057" y="472197"/>
                  <a:pt x="394085" y="466853"/>
                </a:cubicBezTo>
                <a:cubicBezTo>
                  <a:pt x="395421" y="465518"/>
                  <a:pt x="398094" y="464182"/>
                  <a:pt x="399431" y="462846"/>
                </a:cubicBezTo>
                <a:cubicBezTo>
                  <a:pt x="411458" y="457503"/>
                  <a:pt x="422150" y="452160"/>
                  <a:pt x="432841" y="446817"/>
                </a:cubicBezTo>
                <a:cubicBezTo>
                  <a:pt x="434177" y="445481"/>
                  <a:pt x="434177" y="445481"/>
                  <a:pt x="435514" y="445481"/>
                </a:cubicBezTo>
                <a:cubicBezTo>
                  <a:pt x="446205" y="440138"/>
                  <a:pt x="456896" y="433459"/>
                  <a:pt x="467587" y="428116"/>
                </a:cubicBezTo>
                <a:cubicBezTo>
                  <a:pt x="468924" y="426780"/>
                  <a:pt x="470260" y="426780"/>
                  <a:pt x="472933" y="425444"/>
                </a:cubicBezTo>
                <a:cubicBezTo>
                  <a:pt x="483624" y="418765"/>
                  <a:pt x="494315" y="413422"/>
                  <a:pt x="505006" y="406743"/>
                </a:cubicBezTo>
                <a:cubicBezTo>
                  <a:pt x="506343" y="405407"/>
                  <a:pt x="509016" y="404072"/>
                  <a:pt x="510352" y="402736"/>
                </a:cubicBezTo>
                <a:cubicBezTo>
                  <a:pt x="521043" y="396057"/>
                  <a:pt x="533071" y="389378"/>
                  <a:pt x="543762" y="382699"/>
                </a:cubicBezTo>
                <a:cubicBezTo>
                  <a:pt x="554453" y="376020"/>
                  <a:pt x="565145" y="369342"/>
                  <a:pt x="575836" y="362663"/>
                </a:cubicBezTo>
                <a:cubicBezTo>
                  <a:pt x="577172" y="361327"/>
                  <a:pt x="579845" y="359991"/>
                  <a:pt x="581181" y="358655"/>
                </a:cubicBezTo>
                <a:cubicBezTo>
                  <a:pt x="591873" y="351976"/>
                  <a:pt x="601227" y="343962"/>
                  <a:pt x="611919" y="337283"/>
                </a:cubicBezTo>
                <a:cubicBezTo>
                  <a:pt x="613255" y="335947"/>
                  <a:pt x="615928" y="334611"/>
                  <a:pt x="617264" y="333275"/>
                </a:cubicBezTo>
                <a:cubicBezTo>
                  <a:pt x="627956" y="325261"/>
                  <a:pt x="638647" y="318582"/>
                  <a:pt x="649338" y="310567"/>
                </a:cubicBezTo>
                <a:cubicBezTo>
                  <a:pt x="929147" y="99347"/>
                  <a:pt x="1258028" y="-1776"/>
                  <a:pt x="1583776" y="24"/>
                </a:cubicBezTo>
                <a:close/>
              </a:path>
            </a:pathLst>
          </a:custGeom>
        </p:spPr>
        <p:txBody>
          <a:bodyPr wrap="square" tIns="158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1BB9FA-F272-BE45-B264-5C6266B602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685695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CD86E345-BD7E-FB12-E0E8-78B6D70049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662" y="0"/>
            <a:ext cx="41683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46576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7" y="3990974"/>
            <a:ext cx="5465763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A2D017-DF64-7420-B195-CE9B2E85F0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095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8E0BFA0-78AB-9F34-B8D6-117435C6A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773527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4" imgW="473" imgH="473" progId="TCLayout.ActiveDocument.1">
                  <p:embed/>
                </p:oleObj>
              </mc:Choice>
              <mc:Fallback>
                <p:oleObj name="think-cell Folie" r:id="rId6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0BFA0-78AB-9F34-B8D6-117435C6A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62" r:id="rId2"/>
    <p:sldLayoutId id="2147483708" r:id="rId3"/>
    <p:sldLayoutId id="2147483701" r:id="rId4"/>
    <p:sldLayoutId id="2147483705" r:id="rId5"/>
    <p:sldLayoutId id="2147483707" r:id="rId6"/>
    <p:sldLayoutId id="2147483709" r:id="rId7"/>
    <p:sldLayoutId id="2147483710" r:id="rId8"/>
    <p:sldLayoutId id="2147483661" r:id="rId9"/>
    <p:sldLayoutId id="2147483711" r:id="rId10"/>
    <p:sldLayoutId id="2147483713" r:id="rId11"/>
    <p:sldLayoutId id="2147483714" r:id="rId12"/>
    <p:sldLayoutId id="2147483715" r:id="rId13"/>
    <p:sldLayoutId id="2147483700" r:id="rId14"/>
    <p:sldLayoutId id="2147483699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20" r:id="rId21"/>
    <p:sldLayoutId id="2147483721" r:id="rId22"/>
    <p:sldLayoutId id="2147483725" r:id="rId23"/>
    <p:sldLayoutId id="2147483723" r:id="rId24"/>
    <p:sldLayoutId id="2147483726" r:id="rId25"/>
    <p:sldLayoutId id="2147483727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681" r:id="rId34"/>
    <p:sldLayoutId id="2147483668" r:id="rId35"/>
    <p:sldLayoutId id="2147483667" r:id="rId36"/>
    <p:sldLayoutId id="2147483669" r:id="rId37"/>
    <p:sldLayoutId id="2147483683" r:id="rId38"/>
    <p:sldLayoutId id="2147483684" r:id="rId39"/>
    <p:sldLayoutId id="2147483672" r:id="rId40"/>
    <p:sldLayoutId id="2147483695" r:id="rId41"/>
    <p:sldLayoutId id="2147483673" r:id="rId42"/>
    <p:sldLayoutId id="2147483716" r:id="rId43"/>
    <p:sldLayoutId id="2147483717" r:id="rId44"/>
    <p:sldLayoutId id="2147483718" r:id="rId45"/>
    <p:sldLayoutId id="2147483719" r:id="rId46"/>
    <p:sldLayoutId id="2147483690" r:id="rId47"/>
    <p:sldLayoutId id="2147483688" r:id="rId48"/>
    <p:sldLayoutId id="2147483738" r:id="rId49"/>
    <p:sldLayoutId id="2147483670" r:id="rId50"/>
    <p:sldLayoutId id="2147483671" r:id="rId51"/>
    <p:sldLayoutId id="2147483692" r:id="rId52"/>
    <p:sldLayoutId id="2147483693" r:id="rId53"/>
    <p:sldLayoutId id="2147483694" r:id="rId54"/>
    <p:sldLayoutId id="2147483654" r:id="rId55"/>
    <p:sldLayoutId id="2147483655" r:id="rId56"/>
    <p:sldLayoutId id="2147483736" r:id="rId57"/>
    <p:sldLayoutId id="2147483737" r:id="rId58"/>
    <p:sldLayoutId id="2147483698" r:id="rId59"/>
    <p:sldLayoutId id="2147483740" r:id="rId60"/>
    <p:sldLayoutId id="2147483741" r:id="rId6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6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42.png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Relationship Id="rId9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1.xml"/><Relationship Id="rId1" Type="http://schemas.openxmlformats.org/officeDocument/2006/relationships/themeOverride" Target="../theme/themeOverride3.xml"/><Relationship Id="rId6" Type="http://schemas.openxmlformats.org/officeDocument/2006/relationships/chart" Target="../charts/chart2.xml"/><Relationship Id="rId5" Type="http://schemas.openxmlformats.org/officeDocument/2006/relationships/image" Target="../media/image44.png"/><Relationship Id="rId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5.xml"/><Relationship Id="rId6" Type="http://schemas.openxmlformats.org/officeDocument/2006/relationships/chart" Target="../charts/chart3.x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8DDE4-A76C-D583-0796-26B60D1B35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E8696E6-8356-BD18-1FE7-343881553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8696E6-8356-BD18-1FE7-343881553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BFDB9E-BBFC-3F2F-6947-D60F8013E9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682992"/>
            <a:ext cx="6879695" cy="1969770"/>
          </a:xfrm>
        </p:spPr>
        <p:txBody>
          <a:bodyPr vert="horz"/>
          <a:lstStyle/>
          <a:p>
            <a:r>
              <a:rPr lang="en-US" sz="3200" dirty="0"/>
              <a:t>Long-term follow-up of real-world adjuvant anti-PD1 checkpoint inhibition and targeted therapy in stage III melanoma patients</a:t>
            </a:r>
            <a:endParaRPr lang="en-GB" sz="32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267D7F-8E10-CF4C-8F84-CADA1D4503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6778095" cy="1047751"/>
          </a:xfrm>
        </p:spPr>
        <p:txBody>
          <a:bodyPr/>
          <a:lstStyle/>
          <a:p>
            <a:r>
              <a:rPr lang="en-GB" sz="900" dirty="0"/>
              <a:t>Georg C Lodde</a:t>
            </a:r>
            <a:r>
              <a:rPr lang="en-GB" sz="900" baseline="30000" dirty="0"/>
              <a:t>1</a:t>
            </a:r>
            <a:r>
              <a:rPr lang="en-GB" sz="900" dirty="0"/>
              <a:t>, Jessica C Hassel</a:t>
            </a:r>
            <a:r>
              <a:rPr lang="en-GB" sz="900" baseline="30000" dirty="0"/>
              <a:t>2</a:t>
            </a:r>
            <a:r>
              <a:rPr lang="en-GB" sz="900" dirty="0"/>
              <a:t>, Imke von Wasielewski</a:t>
            </a:r>
            <a:r>
              <a:rPr lang="en-GB" sz="900" baseline="30000" dirty="0"/>
              <a:t>3</a:t>
            </a:r>
            <a:r>
              <a:rPr lang="en-GB" sz="900" dirty="0"/>
              <a:t>, Friedegund Meier</a:t>
            </a:r>
            <a:r>
              <a:rPr lang="en-GB" sz="900" baseline="30000" dirty="0"/>
              <a:t>4,5</a:t>
            </a:r>
            <a:r>
              <a:rPr lang="en-GB" sz="900" dirty="0"/>
              <a:t>, Peter Mohr</a:t>
            </a:r>
            <a:r>
              <a:rPr lang="en-GB" sz="900" baseline="30000" dirty="0"/>
              <a:t>6</a:t>
            </a:r>
            <a:r>
              <a:rPr lang="en-GB" sz="900" dirty="0"/>
              <a:t>, Katharina Kähler</a:t>
            </a:r>
            <a:r>
              <a:rPr lang="en-GB" sz="900" baseline="30000" dirty="0"/>
              <a:t>7</a:t>
            </a:r>
            <a:r>
              <a:rPr lang="en-GB" sz="900" dirty="0"/>
              <a:t>, Axel Hauschild</a:t>
            </a:r>
            <a:r>
              <a:rPr lang="en-GB" sz="900" baseline="30000" dirty="0"/>
              <a:t>7</a:t>
            </a:r>
            <a:r>
              <a:rPr lang="en-GB" sz="900" dirty="0"/>
              <a:t>, Valerie Glutsch</a:t>
            </a:r>
            <a:r>
              <a:rPr lang="en-GB" sz="900" baseline="30000" dirty="0"/>
              <a:t>8</a:t>
            </a:r>
            <a:r>
              <a:rPr lang="en-GB" sz="900" dirty="0"/>
              <a:t>, Henner Stege</a:t>
            </a:r>
            <a:r>
              <a:rPr lang="en-GB" sz="900" baseline="30000" dirty="0"/>
              <a:t>9</a:t>
            </a:r>
            <a:r>
              <a:rPr lang="en-GB" sz="900" dirty="0"/>
              <a:t>, Carola Berking</a:t>
            </a:r>
            <a:r>
              <a:rPr lang="en-GB" sz="900" baseline="30000" dirty="0"/>
              <a:t>10</a:t>
            </a:r>
            <a:r>
              <a:rPr lang="en-GB" sz="900" dirty="0"/>
              <a:t>, Svea Hüning</a:t>
            </a:r>
            <a:r>
              <a:rPr lang="en-GB" sz="900" baseline="30000" dirty="0"/>
              <a:t>11</a:t>
            </a:r>
            <a:r>
              <a:rPr lang="en-GB" sz="900" dirty="0"/>
              <a:t>, Julia Huynh</a:t>
            </a:r>
            <a:r>
              <a:rPr lang="en-GB" sz="900" baseline="30000" dirty="0"/>
              <a:t>12,13</a:t>
            </a:r>
            <a:r>
              <a:rPr lang="en-GB" sz="900" dirty="0"/>
              <a:t>, Ralf Gutzmer</a:t>
            </a:r>
            <a:r>
              <a:rPr lang="en-GB" sz="900" baseline="30000" dirty="0"/>
              <a:t>3,14</a:t>
            </a:r>
            <a:r>
              <a:rPr lang="en-GB" sz="900" dirty="0"/>
              <a:t>, Lydia Reinhardt</a:t>
            </a:r>
            <a:r>
              <a:rPr lang="en-GB" sz="900" baseline="30000" dirty="0"/>
              <a:t>4,5</a:t>
            </a:r>
            <a:r>
              <a:rPr lang="en-GB" sz="900" dirty="0"/>
              <a:t>, Bastian Schilling</a:t>
            </a:r>
            <a:r>
              <a:rPr lang="en-GB" sz="900" baseline="30000" dirty="0"/>
              <a:t>8,15</a:t>
            </a:r>
            <a:r>
              <a:rPr lang="en-GB" sz="900" dirty="0"/>
              <a:t>, Carmen Loquai</a:t>
            </a:r>
            <a:r>
              <a:rPr lang="en-GB" sz="900" baseline="30000" dirty="0"/>
              <a:t>9,16</a:t>
            </a:r>
            <a:r>
              <a:rPr lang="en-GB" sz="900" dirty="0"/>
              <a:t>, Michael Erdmann</a:t>
            </a:r>
            <a:r>
              <a:rPr lang="en-GB" sz="900" baseline="30000" dirty="0"/>
              <a:t>10</a:t>
            </a:r>
            <a:r>
              <a:rPr lang="en-GB" sz="900" dirty="0"/>
              <a:t>, Andreas Stang</a:t>
            </a:r>
            <a:r>
              <a:rPr lang="en-GB" sz="900" baseline="30000" dirty="0"/>
              <a:t>17</a:t>
            </a:r>
            <a:r>
              <a:rPr lang="en-GB" sz="900" dirty="0"/>
              <a:t>, Bernd Kowall</a:t>
            </a:r>
            <a:r>
              <a:rPr lang="en-GB" sz="900" baseline="30000" dirty="0"/>
              <a:t>17</a:t>
            </a:r>
            <a:r>
              <a:rPr lang="en-GB" sz="900" dirty="0"/>
              <a:t>, Wolfgang Galetzka</a:t>
            </a:r>
            <a:r>
              <a:rPr lang="en-GB" sz="900" baseline="30000" dirty="0"/>
              <a:t>17</a:t>
            </a:r>
            <a:r>
              <a:rPr lang="en-GB" sz="900" dirty="0"/>
              <a:t>, Alexander Roesch</a:t>
            </a:r>
            <a:r>
              <a:rPr lang="en-GB" sz="900" baseline="30000" dirty="0"/>
              <a:t>1,18</a:t>
            </a:r>
            <a:r>
              <a:rPr lang="en-GB" sz="900" dirty="0"/>
              <a:t>, Daniel Tilkorn</a:t>
            </a:r>
            <a:r>
              <a:rPr lang="en-GB" sz="900" baseline="30000" dirty="0"/>
              <a:t>1</a:t>
            </a:r>
            <a:r>
              <a:rPr lang="en-GB" sz="900" dirty="0"/>
              <a:t>, Selma Ugurel</a:t>
            </a:r>
            <a:r>
              <a:rPr lang="en-GB" sz="900" baseline="30000" dirty="0"/>
              <a:t>1,18</a:t>
            </a:r>
            <a:r>
              <a:rPr lang="en-GB" sz="900" dirty="0"/>
              <a:t>, Lisa Zimmer</a:t>
            </a:r>
            <a:r>
              <a:rPr lang="en-GB" sz="900" baseline="30000" dirty="0"/>
              <a:t>1</a:t>
            </a:r>
            <a:r>
              <a:rPr lang="en-GB" sz="900" dirty="0"/>
              <a:t>, Dirk </a:t>
            </a:r>
            <a:r>
              <a:rPr lang="en-GB" sz="900" dirty="0" err="1"/>
              <a:t>Schadendorf</a:t>
            </a:r>
            <a:r>
              <a:rPr lang="en-GB" sz="900" dirty="0"/>
              <a:t> </a:t>
            </a:r>
            <a:r>
              <a:rPr lang="en-GB" sz="900" baseline="30000" dirty="0"/>
              <a:t>1,18,19</a:t>
            </a:r>
            <a:r>
              <a:rPr lang="en-GB" sz="900" dirty="0"/>
              <a:t>, Andrea Forschner</a:t>
            </a:r>
            <a:r>
              <a:rPr lang="en-GB" sz="900" baseline="30000" dirty="0"/>
              <a:t>12</a:t>
            </a:r>
            <a:r>
              <a:rPr lang="en-GB" sz="900" dirty="0"/>
              <a:t>, Elisabeth Livingstone</a:t>
            </a:r>
            <a:r>
              <a:rPr lang="en-GB" sz="900" baseline="30000" dirty="0"/>
              <a:t>1</a:t>
            </a:r>
            <a:r>
              <a:rPr lang="en-GB" sz="900" dirty="0"/>
              <a:t> </a:t>
            </a:r>
          </a:p>
          <a:p>
            <a:endParaRPr lang="en-GB" sz="700" b="0" dirty="0"/>
          </a:p>
          <a:p>
            <a:r>
              <a:rPr lang="en-GB" sz="700" dirty="0"/>
              <a:t>1</a:t>
            </a:r>
            <a:r>
              <a:rPr lang="en-GB" sz="700" b="0" dirty="0"/>
              <a:t> Department of Dermatology, Venereology and Allergology, University Hospital Essen, Essen, Germany. </a:t>
            </a:r>
            <a:r>
              <a:rPr lang="en-GB" sz="700" dirty="0"/>
              <a:t>2</a:t>
            </a:r>
            <a:r>
              <a:rPr lang="en-GB" sz="700" b="0" dirty="0"/>
              <a:t> Medical Faculty Heidelberg, Department of Dermatology and National </a:t>
            </a:r>
            <a:r>
              <a:rPr lang="en-GB" sz="700" b="0" dirty="0" err="1"/>
              <a:t>Center</a:t>
            </a:r>
            <a:r>
              <a:rPr lang="en-GB" sz="700" b="0" dirty="0"/>
              <a:t> for </a:t>
            </a:r>
            <a:r>
              <a:rPr lang="en-GB" sz="700" b="0" dirty="0" err="1"/>
              <a:t>Tumor</a:t>
            </a:r>
            <a:r>
              <a:rPr lang="en-GB" sz="700" b="0" dirty="0"/>
              <a:t> Diseases (NCT), NCT Heidelberg, a partnership between DKFZ and University Hospital Heidelberg, Heidelberg University, Heidelberg, Germany. </a:t>
            </a:r>
            <a:r>
              <a:rPr lang="en-GB" sz="700" dirty="0"/>
              <a:t>  </a:t>
            </a:r>
            <a:r>
              <a:rPr lang="en-GB" sz="700" b="0" dirty="0"/>
              <a:t> </a:t>
            </a:r>
            <a:r>
              <a:rPr lang="en-GB" sz="700" dirty="0"/>
              <a:t>3</a:t>
            </a:r>
            <a:r>
              <a:rPr lang="en-GB" sz="700" b="0" dirty="0"/>
              <a:t> Skin Cancer </a:t>
            </a:r>
            <a:r>
              <a:rPr lang="en-GB" sz="700" b="0" dirty="0" err="1"/>
              <a:t>Center</a:t>
            </a:r>
            <a:r>
              <a:rPr lang="en-GB" sz="700" b="0" dirty="0"/>
              <a:t> Hannover, Department of Dermatology and Allergy, Venereology and Allergology, University Hospital Hannover Medical School, Hannover, Germany. </a:t>
            </a:r>
            <a:r>
              <a:rPr lang="en-GB" sz="700" dirty="0"/>
              <a:t>4</a:t>
            </a:r>
            <a:r>
              <a:rPr lang="en-GB" sz="700" b="0" dirty="0"/>
              <a:t> Skin Cancer </a:t>
            </a:r>
            <a:r>
              <a:rPr lang="en-GB" sz="700" b="0" dirty="0" err="1"/>
              <a:t>Center</a:t>
            </a:r>
            <a:r>
              <a:rPr lang="en-GB" sz="700" b="0" dirty="0"/>
              <a:t> at the University Cancer Centre Dresden and National </a:t>
            </a:r>
            <a:r>
              <a:rPr lang="en-GB" sz="700" b="0" dirty="0" err="1"/>
              <a:t>Center</a:t>
            </a:r>
            <a:r>
              <a:rPr lang="en-GB" sz="700" b="0" dirty="0"/>
              <a:t> for </a:t>
            </a:r>
            <a:r>
              <a:rPr lang="en-GB" sz="700" b="0" dirty="0" err="1"/>
              <a:t>Tumor</a:t>
            </a:r>
            <a:r>
              <a:rPr lang="en-GB" sz="700" b="0" dirty="0"/>
              <a:t> Diseases, Dresden, Germany. </a:t>
            </a:r>
            <a:r>
              <a:rPr lang="en-GB" sz="700" dirty="0"/>
              <a:t>5</a:t>
            </a:r>
            <a:r>
              <a:rPr lang="en-GB" sz="700" b="0" dirty="0"/>
              <a:t> Department of Dermatology, University Hospital Carl Gustav Carus, TU Dresden, Dresden, Germany. </a:t>
            </a:r>
            <a:r>
              <a:rPr lang="en-GB" sz="700" dirty="0"/>
              <a:t>6</a:t>
            </a:r>
            <a:r>
              <a:rPr lang="en-GB" sz="700" b="0" dirty="0"/>
              <a:t> Department of Dermatology, Elbe </a:t>
            </a:r>
            <a:r>
              <a:rPr lang="en-GB" sz="700" b="0" dirty="0" err="1"/>
              <a:t>Kliniken</a:t>
            </a:r>
            <a:r>
              <a:rPr lang="en-GB" sz="700" b="0" dirty="0"/>
              <a:t> Stade-Buxtehude, Buxtehude, Germany. </a:t>
            </a:r>
            <a:r>
              <a:rPr lang="en-GB" sz="700" dirty="0"/>
              <a:t>7</a:t>
            </a:r>
            <a:r>
              <a:rPr lang="en-GB" sz="700" b="0" dirty="0"/>
              <a:t> Department of Dermatology, Venereology and Allergology, University Hospital Kiel, Kiel, Germany. </a:t>
            </a:r>
            <a:r>
              <a:rPr lang="en-GB" sz="700" dirty="0"/>
              <a:t>8</a:t>
            </a:r>
            <a:r>
              <a:rPr lang="en-GB" sz="700" b="0" dirty="0"/>
              <a:t> Department of Dermatology, Venereology and Allergology, University Hospital Wuerzburg, Wuerzburg, Germany. </a:t>
            </a:r>
            <a:r>
              <a:rPr lang="en-GB" sz="700" dirty="0"/>
              <a:t>9</a:t>
            </a:r>
            <a:r>
              <a:rPr lang="en-GB" sz="700" b="0" dirty="0"/>
              <a:t> Department of Dermatology, University Hospital Mainz, Mainz, Germany. </a:t>
            </a:r>
            <a:r>
              <a:rPr lang="en-GB" sz="700" dirty="0"/>
              <a:t>10</a:t>
            </a:r>
            <a:r>
              <a:rPr lang="en-GB" sz="700" b="0" dirty="0"/>
              <a:t> Department of Dermatology, </a:t>
            </a:r>
            <a:r>
              <a:rPr lang="en-GB" sz="700" b="0" dirty="0" err="1"/>
              <a:t>Uniklinikum</a:t>
            </a:r>
            <a:r>
              <a:rPr lang="en-GB" sz="700" b="0" dirty="0"/>
              <a:t> Erlangen, Comprehensive Cancer </a:t>
            </a:r>
            <a:r>
              <a:rPr lang="en-GB" sz="700" b="0" dirty="0" err="1"/>
              <a:t>Center</a:t>
            </a:r>
            <a:r>
              <a:rPr lang="en-GB" sz="700" b="0" dirty="0"/>
              <a:t> Erlangen-EMN, Friedrich-Alexander University Erlangen-Nuremberg (FAU), </a:t>
            </a:r>
            <a:r>
              <a:rPr lang="en-GB" sz="700" b="0" dirty="0" err="1"/>
              <a:t>Deutsches</a:t>
            </a:r>
            <a:r>
              <a:rPr lang="en-GB" sz="700" b="0" dirty="0"/>
              <a:t> Zentrum </a:t>
            </a:r>
            <a:r>
              <a:rPr lang="en-GB" sz="700" b="0" dirty="0" err="1"/>
              <a:t>Immuntherapie</a:t>
            </a:r>
            <a:r>
              <a:rPr lang="en-GB" sz="700" b="0" dirty="0"/>
              <a:t> (DZI), Erlangen, Germany. </a:t>
            </a:r>
            <a:r>
              <a:rPr lang="en-GB" sz="700" dirty="0"/>
              <a:t>11</a:t>
            </a:r>
            <a:r>
              <a:rPr lang="en-GB" sz="700" b="0" dirty="0"/>
              <a:t> Department of Dermatology, Klinikum Dortmund </a:t>
            </a:r>
            <a:r>
              <a:rPr lang="en-GB" sz="700" b="0" dirty="0" err="1"/>
              <a:t>gGmbH</a:t>
            </a:r>
            <a:r>
              <a:rPr lang="en-GB" sz="700" b="0" dirty="0"/>
              <a:t>, Dortmund, Germany. </a:t>
            </a:r>
            <a:r>
              <a:rPr lang="en-GB" sz="700" dirty="0"/>
              <a:t>12</a:t>
            </a:r>
            <a:r>
              <a:rPr lang="en-GB" sz="700" b="0" dirty="0"/>
              <a:t> Department of Dermatology, University Hospital </a:t>
            </a:r>
            <a:r>
              <a:rPr lang="en-GB" sz="700" b="0" dirty="0" err="1"/>
              <a:t>Tuebingen</a:t>
            </a:r>
            <a:r>
              <a:rPr lang="en-GB" sz="700" b="0" dirty="0"/>
              <a:t>, </a:t>
            </a:r>
            <a:r>
              <a:rPr lang="en-GB" sz="700" b="0" dirty="0" err="1"/>
              <a:t>Tuebingen</a:t>
            </a:r>
            <a:r>
              <a:rPr lang="en-GB" sz="700" b="0" dirty="0"/>
              <a:t>, Germany. </a:t>
            </a:r>
            <a:r>
              <a:rPr lang="en-GB" sz="700" dirty="0"/>
              <a:t>13</a:t>
            </a:r>
            <a:r>
              <a:rPr lang="en-GB" sz="700" b="0" dirty="0"/>
              <a:t> Department of Dermatology, Charité-</a:t>
            </a:r>
            <a:r>
              <a:rPr lang="en-GB" sz="700" b="0" dirty="0" err="1"/>
              <a:t>Universitätsmedizin</a:t>
            </a:r>
            <a:r>
              <a:rPr lang="en-GB" sz="700" b="0" dirty="0"/>
              <a:t> Berlin, corporate member of Freie Universität Berlin and Humboldt-Universität </a:t>
            </a:r>
            <a:r>
              <a:rPr lang="en-GB" sz="700" b="0" dirty="0" err="1"/>
              <a:t>zu</a:t>
            </a:r>
            <a:r>
              <a:rPr lang="en-GB" sz="700" b="0" dirty="0"/>
              <a:t> Berlin, Berlin, Germany. </a:t>
            </a:r>
            <a:r>
              <a:rPr lang="en-GB" sz="700" dirty="0"/>
              <a:t>14</a:t>
            </a:r>
            <a:r>
              <a:rPr lang="en-GB" sz="700" b="0" dirty="0"/>
              <a:t> Department of Dermatology, Johannes Wesling Medical </a:t>
            </a:r>
            <a:r>
              <a:rPr lang="en-GB" sz="700" b="0" dirty="0" err="1"/>
              <a:t>Center</a:t>
            </a:r>
            <a:r>
              <a:rPr lang="en-GB" sz="700" b="0" dirty="0"/>
              <a:t>, Ruhr University Bochum, Minden, Germany. </a:t>
            </a:r>
            <a:r>
              <a:rPr lang="en-GB" sz="700" dirty="0"/>
              <a:t>15</a:t>
            </a:r>
            <a:r>
              <a:rPr lang="en-GB" sz="700" b="0" dirty="0"/>
              <a:t> Department of Dermatology, Venereology and Allergology, University Hospital Frankfurt, Frankfurt, Germany. </a:t>
            </a:r>
            <a:r>
              <a:rPr lang="en-GB" sz="700" dirty="0"/>
              <a:t>16</a:t>
            </a:r>
            <a:r>
              <a:rPr lang="en-GB" sz="700" b="0" dirty="0"/>
              <a:t> Department of Dermatology, Klinikum Bremen-Ost, Gesundheit Nord </a:t>
            </a:r>
            <a:r>
              <a:rPr lang="en-GB" sz="700" b="0" dirty="0" err="1"/>
              <a:t>gGmbH</a:t>
            </a:r>
            <a:r>
              <a:rPr lang="en-GB" sz="700" b="0" dirty="0"/>
              <a:t>, Bremen, Germany. </a:t>
            </a:r>
            <a:r>
              <a:rPr lang="en-GB" sz="700" dirty="0"/>
              <a:t>17</a:t>
            </a:r>
            <a:r>
              <a:rPr lang="en-GB" sz="700" b="0" dirty="0"/>
              <a:t> Institute for Medical Informatics, Biometry and Epidemiology, University Hospital Essen, Essen, Germany. </a:t>
            </a:r>
            <a:r>
              <a:rPr lang="en-GB" sz="700" dirty="0"/>
              <a:t>18</a:t>
            </a:r>
            <a:r>
              <a:rPr lang="en-GB" sz="700" b="0" dirty="0"/>
              <a:t> German Consortium for Translational Cancer Research (DKTK), partner site Essen and German Cancer Re-search </a:t>
            </a:r>
            <a:r>
              <a:rPr lang="en-GB" sz="700" b="0" dirty="0" err="1"/>
              <a:t>Center</a:t>
            </a:r>
            <a:r>
              <a:rPr lang="en-GB" sz="700" b="0" dirty="0"/>
              <a:t> (DKFZ), Heidelberg, Germany. </a:t>
            </a:r>
            <a:r>
              <a:rPr lang="en-GB" sz="700" dirty="0"/>
              <a:t>19</a:t>
            </a:r>
            <a:r>
              <a:rPr lang="en-GB" sz="700" b="0" dirty="0"/>
              <a:t> NCT-West, Campus Essen and University Alliance Ruhr, Research </a:t>
            </a:r>
            <a:r>
              <a:rPr lang="en-GB" sz="700" b="0" dirty="0" err="1"/>
              <a:t>Center</a:t>
            </a:r>
            <a:r>
              <a:rPr lang="en-GB" sz="700" b="0" dirty="0"/>
              <a:t> One Health, Essen, Germany.</a:t>
            </a:r>
          </a:p>
          <a:p>
            <a:endParaRPr lang="en-GB" sz="700" b="0" dirty="0"/>
          </a:p>
        </p:txBody>
      </p:sp>
    </p:spTree>
    <p:extLst>
      <p:ext uri="{BB962C8B-B14F-4D97-AF65-F5344CB8AC3E}">
        <p14:creationId xmlns:p14="http://schemas.microsoft.com/office/powerpoint/2010/main" val="35283593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A9D4AC-5DCD-B9EF-2219-A61DFC56E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380104"/>
          </a:xfrm>
        </p:spPr>
        <p:txBody>
          <a:bodyPr/>
          <a:lstStyle/>
          <a:p>
            <a:r>
              <a:rPr lang="de-DE"/>
              <a:t>Hintergrund und Studienz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94C97C-3901-220F-6B23-8DD612C58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070041A-CD92-4ED8-7DDC-303050A595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6051550"/>
            <a:ext cx="6749274" cy="587375"/>
          </a:xfrm>
        </p:spPr>
        <p:txBody>
          <a:bodyPr/>
          <a:lstStyle/>
          <a:p>
            <a:r>
              <a:rPr lang="de-DE" b="1" dirty="0"/>
              <a:t>a </a:t>
            </a:r>
            <a:r>
              <a:rPr lang="de-DE" dirty="0"/>
              <a:t>Einteilung anhand AJCC, 8. Auflage.</a:t>
            </a:r>
          </a:p>
          <a:p>
            <a:r>
              <a:rPr lang="de-DE" b="1" dirty="0"/>
              <a:t>AJCC </a:t>
            </a:r>
            <a:r>
              <a:rPr lang="en-US" i="1" dirty="0"/>
              <a:t>American Joint Committee on Cancer</a:t>
            </a:r>
            <a:r>
              <a:rPr lang="en-US" dirty="0"/>
              <a:t>. </a:t>
            </a:r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 </a:t>
            </a:r>
            <a:r>
              <a:rPr lang="de-DE" b="1" dirty="0" err="1"/>
              <a:t>DeCOG</a:t>
            </a:r>
            <a:r>
              <a:rPr lang="de-DE" dirty="0"/>
              <a:t> </a:t>
            </a:r>
            <a:r>
              <a:rPr lang="de-DE" i="1" dirty="0" err="1"/>
              <a:t>Dermatologic</a:t>
            </a:r>
            <a:r>
              <a:rPr lang="de-DE" i="1" dirty="0"/>
              <a:t> </a:t>
            </a:r>
            <a:r>
              <a:rPr lang="de-DE" i="1" dirty="0" err="1"/>
              <a:t>Cooperative</a:t>
            </a:r>
            <a:r>
              <a:rPr lang="de-DE" i="1" dirty="0"/>
              <a:t> </a:t>
            </a:r>
            <a:r>
              <a:rPr lang="de-DE" i="1" dirty="0" err="1"/>
              <a:t>Oncology</a:t>
            </a:r>
            <a:r>
              <a:rPr lang="de-DE" i="1" dirty="0"/>
              <a:t> Group.</a:t>
            </a:r>
            <a:r>
              <a:rPr lang="de-DE" b="1" i="1" dirty="0"/>
              <a:t>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 </a:t>
            </a:r>
            <a:r>
              <a:rPr lang="de-DE" b="1" dirty="0"/>
              <a:t>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/>
              <a:t>RFS</a:t>
            </a:r>
            <a:r>
              <a:rPr lang="de-DE" dirty="0"/>
              <a:t> Rezidivfreies Überleben. </a:t>
            </a:r>
            <a:r>
              <a:rPr lang="de-DE" b="1" dirty="0"/>
              <a:t>TT</a:t>
            </a:r>
            <a:r>
              <a:rPr lang="de-DE" dirty="0"/>
              <a:t> Zielgerichtete Therapie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25CC3D5-E729-F0C9-2815-92692A10D668}"/>
              </a:ext>
            </a:extLst>
          </p:cNvPr>
          <p:cNvSpPr txBox="1"/>
          <p:nvPr/>
        </p:nvSpPr>
        <p:spPr>
          <a:xfrm>
            <a:off x="1452209" y="999382"/>
            <a:ext cx="8488586" cy="1426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ntergrund</a:t>
            </a:r>
          </a:p>
          <a:p>
            <a:pPr marL="285750" lvl="0" indent="-2857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e </a:t>
            </a:r>
            <a:r>
              <a:rPr kumimoji="0" lang="de-DE" sz="140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OG</a:t>
            </a: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Studie untersuchte die Wirksamkeit adjuvanter Therapien beim malignen Melanom unter </a:t>
            </a:r>
            <a:r>
              <a:rPr kumimoji="0" lang="de-DE" sz="1400" i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l-World</a:t>
            </a: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Bedingungen: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1">
              <a:spcAft>
                <a:spcPts val="600"/>
              </a:spcAft>
              <a:buClr>
                <a:schemeClr val="accent4"/>
              </a:buClr>
              <a:defRPr/>
            </a:pPr>
            <a:endParaRPr lang="de-DE" sz="1400">
              <a:solidFill>
                <a:srgbClr val="000000"/>
              </a:solidFill>
              <a:latin typeface="Arial" panose="020B0604020202020204"/>
            </a:endParaRP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de-DE" sz="1400" baseline="30000">
              <a:solidFill>
                <a:schemeClr val="tx2"/>
              </a:solidFill>
              <a:latin typeface="Arial" panose="020B0604020202020204"/>
            </a:endParaRP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kumimoji="0" lang="de-DE" sz="1400" i="0" u="none" strike="noStrike" kern="1200" cap="none" spc="0" normalizeH="0" baseline="3000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Grafik 6" descr="Ein Bild, das Grafiken, Kreis, Design enthält.&#10;&#10;KI-generierte Inhalte können fehlerhaft sein.">
            <a:extLst>
              <a:ext uri="{FF2B5EF4-FFF2-40B4-BE49-F238E27FC236}">
                <a16:creationId xmlns:a16="http://schemas.microsoft.com/office/drawing/2014/main" id="{756E7BB2-3C43-0500-1C7F-2025E83ADB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770" y="1071322"/>
            <a:ext cx="720000" cy="720000"/>
          </a:xfrm>
          <a:prstGeom prst="rect">
            <a:avLst/>
          </a:prstGeom>
        </p:spPr>
      </p:pic>
      <p:pic>
        <p:nvPicPr>
          <p:cNvPr id="10" name="Grafik 9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E2894204-9BE5-5DFA-451A-CA065F335B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32" y="3015724"/>
            <a:ext cx="720000" cy="720000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275853B5-8C10-2CA5-0D4F-9625C2D9229D}"/>
              </a:ext>
            </a:extLst>
          </p:cNvPr>
          <p:cNvSpPr txBox="1"/>
          <p:nvPr/>
        </p:nvSpPr>
        <p:spPr>
          <a:xfrm>
            <a:off x="1361770" y="3068394"/>
            <a:ext cx="8457387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defRPr/>
            </a:pPr>
            <a:r>
              <a:rPr lang="de-DE" sz="1600" b="1" dirty="0">
                <a:solidFill>
                  <a:schemeClr val="accent6"/>
                </a:solidFill>
              </a:rPr>
              <a:t>Methode &amp; Studienziel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chemeClr val="tx2"/>
                </a:solidFill>
              </a:rPr>
              <a:t>Retrospektive Erfassung von Patient*innen, die eine adjuvante Therapie im Zeitraum von Juni 2018 bis September 2019 begonnen haben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chemeClr val="tx2"/>
                </a:solidFill>
              </a:rPr>
              <a:t>Prospektive Erhebung und Auswertung von Langzeitdaten mit einer Nachbeobachtung von 4 Jahren u. a. zu: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chemeClr val="tx2"/>
                </a:solidFill>
              </a:rPr>
              <a:t>Rezidivfreiem</a:t>
            </a:r>
            <a:r>
              <a:rPr lang="de-DE" sz="1400" dirty="0">
                <a:solidFill>
                  <a:schemeClr val="tx2"/>
                </a:solidFill>
              </a:rPr>
              <a:t> Überleben (RFS)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chemeClr val="tx2"/>
                </a:solidFill>
              </a:rPr>
              <a:t>Gesamtüberleben (OS)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1C139E1-DD63-59AB-3AF9-2CBD1584D3B0}"/>
              </a:ext>
            </a:extLst>
          </p:cNvPr>
          <p:cNvSpPr txBox="1"/>
          <p:nvPr/>
        </p:nvSpPr>
        <p:spPr>
          <a:xfrm>
            <a:off x="960583" y="4985304"/>
            <a:ext cx="8696986" cy="108966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lvl="1">
              <a:buClr>
                <a:schemeClr val="accent2"/>
              </a:buClr>
            </a:pPr>
            <a:r>
              <a:rPr lang="de-DE" sz="1600" b="1" dirty="0">
                <a:solidFill>
                  <a:schemeClr val="accent6"/>
                </a:solidFill>
              </a:rPr>
              <a:t>Zentrale Ergebnisse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/>
                </a:solidFill>
              </a:rPr>
              <a:t>Die Ergebnisse zeigten einen klinisch bedeutsamen RFS-Vorteil für Patient*innen, die eine zielgerichtete Therapie erhielten, im Vergleich zu allen mit PD1-Inhibitor behandelten Patient*innen, einschließlich der </a:t>
            </a:r>
            <a:r>
              <a:rPr lang="de-DE" sz="1400" i="1" dirty="0">
                <a:solidFill>
                  <a:schemeClr val="tx2"/>
                </a:solidFill>
              </a:rPr>
              <a:t>BRAF</a:t>
            </a:r>
            <a:r>
              <a:rPr lang="de-DE" sz="1400" dirty="0">
                <a:solidFill>
                  <a:schemeClr val="tx2"/>
                </a:solidFill>
              </a:rPr>
              <a:t>V600-positiven Untergruppe</a:t>
            </a:r>
          </a:p>
        </p:txBody>
      </p:sp>
      <p:pic>
        <p:nvPicPr>
          <p:cNvPr id="20" name="Grafik 19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FACE1F6F-EE72-A8F0-8EC9-94A1C07476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32" y="4625304"/>
            <a:ext cx="720000" cy="720000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6705692-E09C-6D4E-DE2F-08E98273F032}"/>
              </a:ext>
            </a:extLst>
          </p:cNvPr>
          <p:cNvGrpSpPr/>
          <p:nvPr/>
        </p:nvGrpSpPr>
        <p:grpSpPr>
          <a:xfrm>
            <a:off x="1271332" y="1410441"/>
            <a:ext cx="8322296" cy="1885360"/>
            <a:chOff x="1250645" y="1770070"/>
            <a:chExt cx="8322296" cy="1885360"/>
          </a:xfrm>
        </p:grpSpPr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5DCBB386-122A-359F-04CF-761497D65121}"/>
                </a:ext>
              </a:extLst>
            </p:cNvPr>
            <p:cNvGrpSpPr/>
            <p:nvPr/>
          </p:nvGrpSpPr>
          <p:grpSpPr>
            <a:xfrm>
              <a:off x="1250645" y="2016249"/>
              <a:ext cx="8322296" cy="1454013"/>
              <a:chOff x="1383995" y="2003418"/>
              <a:chExt cx="8322296" cy="1454013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4D179E52-4508-2D9E-8BDF-23F0595176B0}"/>
                  </a:ext>
                </a:extLst>
              </p:cNvPr>
              <p:cNvGrpSpPr/>
              <p:nvPr/>
            </p:nvGrpSpPr>
            <p:grpSpPr>
              <a:xfrm>
                <a:off x="1383995" y="2003418"/>
                <a:ext cx="8322296" cy="1454013"/>
                <a:chOff x="1552106" y="1576606"/>
                <a:chExt cx="8322296" cy="1454013"/>
              </a:xfrm>
            </p:grpSpPr>
            <p:grpSp>
              <p:nvGrpSpPr>
                <p:cNvPr id="32" name="Gruppieren 31">
                  <a:extLst>
                    <a:ext uri="{FF2B5EF4-FFF2-40B4-BE49-F238E27FC236}">
                      <a16:creationId xmlns:a16="http://schemas.microsoft.com/office/drawing/2014/main" id="{08F344D1-9FD4-6727-976F-E5BCFF1E3A20}"/>
                    </a:ext>
                  </a:extLst>
                </p:cNvPr>
                <p:cNvGrpSpPr/>
                <p:nvPr/>
              </p:nvGrpSpPr>
              <p:grpSpPr>
                <a:xfrm>
                  <a:off x="1552106" y="1576606"/>
                  <a:ext cx="8322296" cy="1454013"/>
                  <a:chOff x="166214" y="2373117"/>
                  <a:chExt cx="8322296" cy="1454013"/>
                </a:xfrm>
              </p:grpSpPr>
              <p:sp>
                <p:nvSpPr>
                  <p:cNvPr id="35" name="Textfeld 34">
                    <a:extLst>
                      <a:ext uri="{FF2B5EF4-FFF2-40B4-BE49-F238E27FC236}">
                        <a16:creationId xmlns:a16="http://schemas.microsoft.com/office/drawing/2014/main" id="{3F434563-7738-59D4-C17F-5BA0752CCA64}"/>
                      </a:ext>
                    </a:extLst>
                  </p:cNvPr>
                  <p:cNvSpPr txBox="1"/>
                  <p:nvPr/>
                </p:nvSpPr>
                <p:spPr>
                  <a:xfrm>
                    <a:off x="166214" y="3381876"/>
                    <a:ext cx="2528000" cy="4001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de-DE" sz="1000">
                        <a:solidFill>
                          <a:schemeClr val="accent6"/>
                        </a:solidFill>
                      </a:rPr>
                      <a:t>11 deutsche </a:t>
                    </a:r>
                  </a:p>
                  <a:p>
                    <a:pPr algn="ctr"/>
                    <a:r>
                      <a:rPr lang="de-DE" sz="1000">
                        <a:solidFill>
                          <a:schemeClr val="accent6"/>
                        </a:solidFill>
                      </a:rPr>
                      <a:t>Hautkrebszentren</a:t>
                    </a:r>
                  </a:p>
                </p:txBody>
              </p:sp>
              <p:pic>
                <p:nvPicPr>
                  <p:cNvPr id="37" name="Grafik 36" descr="Ein Bild, das Screenshot, Grafiken, Symbol, Schrift enthält.&#10;&#10;KI-generierte Inhalte können fehlerhaft sein.">
                    <a:extLst>
                      <a:ext uri="{FF2B5EF4-FFF2-40B4-BE49-F238E27FC236}">
                        <a16:creationId xmlns:a16="http://schemas.microsoft.com/office/drawing/2014/main" id="{3EBDAAB6-494D-D9D1-7B57-B598DCF07DE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77939" y="2413320"/>
                    <a:ext cx="1148281" cy="1148281"/>
                  </a:xfrm>
                  <a:prstGeom prst="rect">
                    <a:avLst/>
                  </a:prstGeom>
                </p:spPr>
              </p:pic>
              <p:pic>
                <p:nvPicPr>
                  <p:cNvPr id="38" name="Grafik 37" descr="Ein Bild, das Kreis, Grafiken, Screenshot, Design enthält.&#10;&#10;KI-generierte Inhalte können fehlerhaft sein.">
                    <a:extLst>
                      <a:ext uri="{FF2B5EF4-FFF2-40B4-BE49-F238E27FC236}">
                        <a16:creationId xmlns:a16="http://schemas.microsoft.com/office/drawing/2014/main" id="{A728C8E9-E3DD-BF59-084F-39433B5B15C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792472" y="2542732"/>
                    <a:ext cx="1122717" cy="1122717"/>
                  </a:xfrm>
                  <a:prstGeom prst="rect">
                    <a:avLst/>
                  </a:prstGeom>
                </p:spPr>
              </p:pic>
              <p:sp>
                <p:nvSpPr>
                  <p:cNvPr id="39" name="Textfeld 38">
                    <a:extLst>
                      <a:ext uri="{FF2B5EF4-FFF2-40B4-BE49-F238E27FC236}">
                        <a16:creationId xmlns:a16="http://schemas.microsoft.com/office/drawing/2014/main" id="{A22F5512-BBD8-BC2F-D316-F83B14EE3EC9}"/>
                      </a:ext>
                    </a:extLst>
                  </p:cNvPr>
                  <p:cNvSpPr txBox="1"/>
                  <p:nvPr/>
                </p:nvSpPr>
                <p:spPr>
                  <a:xfrm>
                    <a:off x="2421096" y="3420779"/>
                    <a:ext cx="1914564" cy="4001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de-DE" sz="1000" dirty="0">
                        <a:solidFill>
                          <a:schemeClr val="accent6"/>
                        </a:solidFill>
                      </a:rPr>
                      <a:t>589 Melanom-Patient*innen </a:t>
                    </a:r>
                  </a:p>
                  <a:p>
                    <a:pPr algn="ctr"/>
                    <a:r>
                      <a:rPr lang="de-DE" sz="1000" dirty="0">
                        <a:solidFill>
                          <a:schemeClr val="accent6"/>
                        </a:solidFill>
                      </a:rPr>
                      <a:t>im Stadium </a:t>
                    </a:r>
                    <a:r>
                      <a:rPr lang="de-DE" sz="1000" dirty="0" err="1">
                        <a:solidFill>
                          <a:schemeClr val="accent6"/>
                        </a:solidFill>
                      </a:rPr>
                      <a:t>III</a:t>
                    </a:r>
                    <a:r>
                      <a:rPr lang="de-DE" sz="1000" baseline="60000" dirty="0" err="1">
                        <a:solidFill>
                          <a:schemeClr val="accent6"/>
                        </a:solidFill>
                      </a:rPr>
                      <a:t>a</a:t>
                    </a:r>
                    <a:r>
                      <a:rPr lang="de-DE" sz="1000" dirty="0">
                        <a:solidFill>
                          <a:schemeClr val="accent6"/>
                        </a:solidFill>
                      </a:rPr>
                      <a:t> </a:t>
                    </a:r>
                  </a:p>
                </p:txBody>
              </p:sp>
              <p:sp>
                <p:nvSpPr>
                  <p:cNvPr id="40" name="Textfeld 39">
                    <a:extLst>
                      <a:ext uri="{FF2B5EF4-FFF2-40B4-BE49-F238E27FC236}">
                        <a16:creationId xmlns:a16="http://schemas.microsoft.com/office/drawing/2014/main" id="{33E35222-BB1A-AE11-1CB0-52472C23DCE7}"/>
                      </a:ext>
                    </a:extLst>
                  </p:cNvPr>
                  <p:cNvSpPr txBox="1"/>
                  <p:nvPr/>
                </p:nvSpPr>
                <p:spPr>
                  <a:xfrm>
                    <a:off x="5396649" y="3273132"/>
                    <a:ext cx="1419490" cy="55399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sz="1000" dirty="0">
                        <a:solidFill>
                          <a:schemeClr val="accent6"/>
                        </a:solidFill>
                      </a:rPr>
                      <a:t>n = 110 </a:t>
                    </a:r>
                  </a:p>
                  <a:p>
                    <a:r>
                      <a:rPr lang="de-DE" sz="1000" dirty="0">
                        <a:solidFill>
                          <a:schemeClr val="accent6"/>
                        </a:solidFill>
                      </a:rPr>
                      <a:t>BRAF/MEK-Inhibitor-Therapie (TT)</a:t>
                    </a:r>
                  </a:p>
                </p:txBody>
              </p:sp>
              <p:sp>
                <p:nvSpPr>
                  <p:cNvPr id="41" name="Textfeld 40">
                    <a:extLst>
                      <a:ext uri="{FF2B5EF4-FFF2-40B4-BE49-F238E27FC236}">
                        <a16:creationId xmlns:a16="http://schemas.microsoft.com/office/drawing/2014/main" id="{785767C0-4F17-AF69-253E-5A543B498A68}"/>
                      </a:ext>
                    </a:extLst>
                  </p:cNvPr>
                  <p:cNvSpPr txBox="1"/>
                  <p:nvPr/>
                </p:nvSpPr>
                <p:spPr>
                  <a:xfrm>
                    <a:off x="5352368" y="2373117"/>
                    <a:ext cx="1882247" cy="5539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000" dirty="0">
                        <a:solidFill>
                          <a:schemeClr val="accent6"/>
                        </a:solidFill>
                      </a:rPr>
                      <a:t>n = 479 (n = 122 mit </a:t>
                    </a:r>
                  </a:p>
                  <a:p>
                    <a:r>
                      <a:rPr lang="de-DE" sz="1000" i="1" dirty="0">
                        <a:solidFill>
                          <a:schemeClr val="accent6"/>
                        </a:solidFill>
                      </a:rPr>
                      <a:t>BRAF</a:t>
                    </a:r>
                    <a:r>
                      <a:rPr lang="de-DE" sz="1000" dirty="0">
                        <a:solidFill>
                          <a:schemeClr val="accent6"/>
                        </a:solidFill>
                      </a:rPr>
                      <a:t>V600-Mutation)</a:t>
                    </a:r>
                  </a:p>
                  <a:p>
                    <a:r>
                      <a:rPr lang="de-DE" sz="1000" dirty="0">
                        <a:solidFill>
                          <a:schemeClr val="accent6"/>
                        </a:solidFill>
                      </a:rPr>
                      <a:t>PD1-Inhibitor-Therapie (PD1) </a:t>
                    </a:r>
                  </a:p>
                </p:txBody>
              </p:sp>
              <p:sp>
                <p:nvSpPr>
                  <p:cNvPr id="42" name="Textfeld 41">
                    <a:extLst>
                      <a:ext uri="{FF2B5EF4-FFF2-40B4-BE49-F238E27FC236}">
                        <a16:creationId xmlns:a16="http://schemas.microsoft.com/office/drawing/2014/main" id="{712CFC24-1F89-22C1-5236-4464662721EB}"/>
                      </a:ext>
                    </a:extLst>
                  </p:cNvPr>
                  <p:cNvSpPr txBox="1"/>
                  <p:nvPr/>
                </p:nvSpPr>
                <p:spPr>
                  <a:xfrm>
                    <a:off x="6480790" y="2373117"/>
                    <a:ext cx="2007720" cy="246221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endParaRPr lang="de-DE" sz="1000" dirty="0">
                      <a:solidFill>
                        <a:schemeClr val="accent6"/>
                      </a:solidFill>
                    </a:endParaRPr>
                  </a:p>
                </p:txBody>
              </p:sp>
              <p:sp>
                <p:nvSpPr>
                  <p:cNvPr id="43" name="Textfeld 42">
                    <a:extLst>
                      <a:ext uri="{FF2B5EF4-FFF2-40B4-BE49-F238E27FC236}">
                        <a16:creationId xmlns:a16="http://schemas.microsoft.com/office/drawing/2014/main" id="{9DB55BF8-CB78-73ED-E745-5955F42EDCF2}"/>
                      </a:ext>
                    </a:extLst>
                  </p:cNvPr>
                  <p:cNvSpPr txBox="1"/>
                  <p:nvPr/>
                </p:nvSpPr>
                <p:spPr>
                  <a:xfrm>
                    <a:off x="6480790" y="3550131"/>
                    <a:ext cx="2007720" cy="246221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endParaRPr lang="de-DE" sz="1000" dirty="0">
                      <a:solidFill>
                        <a:schemeClr val="accent6"/>
                      </a:solidFill>
                      <a:highlight>
                        <a:srgbClr val="FFFF00"/>
                      </a:highlight>
                    </a:endParaRPr>
                  </a:p>
                </p:txBody>
              </p:sp>
            </p:grpSp>
            <p:cxnSp>
              <p:nvCxnSpPr>
                <p:cNvPr id="33" name="Gerade Verbindung mit Pfeil 32">
                  <a:extLst>
                    <a:ext uri="{FF2B5EF4-FFF2-40B4-BE49-F238E27FC236}">
                      <a16:creationId xmlns:a16="http://schemas.microsoft.com/office/drawing/2014/main" id="{7683455D-C382-4B55-17DB-825998840AFE}"/>
                    </a:ext>
                  </a:extLst>
                </p:cNvPr>
                <p:cNvCxnSpPr/>
                <p:nvPr/>
              </p:nvCxnSpPr>
              <p:spPr>
                <a:xfrm>
                  <a:off x="5430434" y="2347014"/>
                  <a:ext cx="561140" cy="414865"/>
                </a:xfrm>
                <a:prstGeom prst="straightConnector1">
                  <a:avLst/>
                </a:prstGeom>
                <a:ln w="12700"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Gerade Verbindung mit Pfeil 33">
                  <a:extLst>
                    <a:ext uri="{FF2B5EF4-FFF2-40B4-BE49-F238E27FC236}">
                      <a16:creationId xmlns:a16="http://schemas.microsoft.com/office/drawing/2014/main" id="{58A882F9-2686-D4CF-7349-08DD77C1621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414013" y="1802956"/>
                  <a:ext cx="561140" cy="414865"/>
                </a:xfrm>
                <a:prstGeom prst="straightConnector1">
                  <a:avLst/>
                </a:prstGeom>
                <a:ln w="12700"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9" name="Gerade Verbindung mit Pfeil 28">
                <a:extLst>
                  <a:ext uri="{FF2B5EF4-FFF2-40B4-BE49-F238E27FC236}">
                    <a16:creationId xmlns:a16="http://schemas.microsoft.com/office/drawing/2014/main" id="{9957DF5F-5FF5-91E1-EAB5-BACB8ECB6C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550" y="2746575"/>
                <a:ext cx="667994" cy="0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6" name="Grafik 25" descr="Ein Bild, das Screenshot, Symbol, Grafiken, Logo enthält.&#10;&#10;KI-generierte Inhalte können fehlerhaft sein.">
              <a:extLst>
                <a:ext uri="{FF2B5EF4-FFF2-40B4-BE49-F238E27FC236}">
                  <a16:creationId xmlns:a16="http://schemas.microsoft.com/office/drawing/2014/main" id="{DBC7F3A2-D7A4-E7DB-E26B-BFEF9CAB610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0113" y="1770070"/>
              <a:ext cx="1060933" cy="1060933"/>
            </a:xfrm>
            <a:prstGeom prst="rect">
              <a:avLst/>
            </a:prstGeom>
          </p:spPr>
        </p:pic>
        <p:pic>
          <p:nvPicPr>
            <p:cNvPr id="27" name="Grafik 26" descr="Ein Bild, das Grafiken, Symbol, Screenshot, Kreis enthält.&#10;&#10;KI-generierte Inhalte können fehlerhaft sein.">
              <a:extLst>
                <a:ext uri="{FF2B5EF4-FFF2-40B4-BE49-F238E27FC236}">
                  <a16:creationId xmlns:a16="http://schemas.microsoft.com/office/drawing/2014/main" id="{6A00161C-4A59-4038-8C60-9CB0AC3DA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2434" y="2747613"/>
              <a:ext cx="907817" cy="907817"/>
            </a:xfrm>
            <a:prstGeom prst="rect">
              <a:avLst/>
            </a:prstGeom>
          </p:spPr>
        </p:pic>
      </p:grpSp>
      <p:sp>
        <p:nvSpPr>
          <p:cNvPr id="6" name="Textfeld 13">
            <a:extLst>
              <a:ext uri="{FF2B5EF4-FFF2-40B4-BE49-F238E27FC236}">
                <a16:creationId xmlns:a16="http://schemas.microsoft.com/office/drawing/2014/main" id="{75ACA0EA-FDA6-1D31-E9EF-A716CC925ACE}"/>
              </a:ext>
            </a:extLst>
          </p:cNvPr>
          <p:cNvSpPr txBox="1"/>
          <p:nvPr/>
        </p:nvSpPr>
        <p:spPr>
          <a:xfrm>
            <a:off x="8532883" y="6469063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791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3A550D6B-E912-D92C-45CB-1F38DF379C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342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550D6B-E912-D92C-45CB-1F38DF379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EEB0AE8-38C8-650D-2F52-4B4A5032D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</p:spPr>
        <p:txBody>
          <a:bodyPr vert="horz"/>
          <a:lstStyle/>
          <a:p>
            <a:r>
              <a:rPr lang="de-DE" dirty="0"/>
              <a:t>RFS bei </a:t>
            </a:r>
            <a:r>
              <a:rPr lang="de-DE" i="1" dirty="0"/>
              <a:t>BRAF</a:t>
            </a:r>
            <a:r>
              <a:rPr lang="de-DE" dirty="0"/>
              <a:t>-positiven Patient*innen mit resezierten Lymphknoten-Makrometastasen vor Therapiebegin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C6E79-DAAD-A3C6-DB48-3A06D7F4A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3</a:t>
            </a:fld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FFF93FF-A87A-7FDC-366C-4B51272491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HR </a:t>
            </a:r>
            <a:r>
              <a:rPr lang="de-DE" i="1" dirty="0"/>
              <a:t>Hazard Ratio. </a:t>
            </a:r>
            <a:r>
              <a:rPr lang="de-DE" b="1" dirty="0"/>
              <a:t>KI </a:t>
            </a:r>
            <a:r>
              <a:rPr lang="de-DE" dirty="0"/>
              <a:t>Konfidenzintervall. </a:t>
            </a:r>
            <a:r>
              <a:rPr lang="de-DE" b="1" dirty="0"/>
              <a:t>NR </a:t>
            </a:r>
            <a:r>
              <a:rPr lang="de-DE" dirty="0"/>
              <a:t>Nicht erreicht. </a:t>
            </a:r>
            <a:r>
              <a:rPr lang="de-DE" b="1" dirty="0"/>
              <a:t>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/>
              <a:t>RFS</a:t>
            </a:r>
            <a:r>
              <a:rPr lang="de-DE" dirty="0"/>
              <a:t> </a:t>
            </a:r>
            <a:r>
              <a:rPr lang="de-DE" dirty="0" err="1"/>
              <a:t>Rezidivfreies</a:t>
            </a:r>
            <a:r>
              <a:rPr lang="de-DE" dirty="0"/>
              <a:t> Überleben. </a:t>
            </a:r>
            <a:r>
              <a:rPr lang="de-DE" b="1" dirty="0"/>
              <a:t>TT</a:t>
            </a:r>
            <a:r>
              <a:rPr lang="de-DE" dirty="0"/>
              <a:t> Zielgerichtete Therapie.</a:t>
            </a:r>
          </a:p>
          <a:p>
            <a:r>
              <a:rPr lang="de-DE" b="1" dirty="0"/>
              <a:t>1</a:t>
            </a:r>
            <a:r>
              <a:rPr lang="de-DE" dirty="0"/>
              <a:t> Blank CU et al. N Engl J Med  2024;391(18):1696-1708.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DDE9B4C-E941-6891-5F21-FDE4CAA7F4A6}"/>
              </a:ext>
            </a:extLst>
          </p:cNvPr>
          <p:cNvSpPr txBox="1"/>
          <p:nvPr/>
        </p:nvSpPr>
        <p:spPr>
          <a:xfrm>
            <a:off x="7697836" y="3459791"/>
            <a:ext cx="33306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Die Rezidivrate war bei allen PD1- Patient*innen höher als bei TT-Patient*innen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C003A80-7F42-72B8-95B4-6CF0CD451FC8}"/>
              </a:ext>
            </a:extLst>
          </p:cNvPr>
          <p:cNvSpPr txBox="1"/>
          <p:nvPr/>
        </p:nvSpPr>
        <p:spPr>
          <a:xfrm>
            <a:off x="576874" y="4723751"/>
            <a:ext cx="9177637" cy="153233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/>
                </a:solidFill>
              </a:rPr>
              <a:t>Nach Resektion von makroskopischen Lymphknotenmetastasen stellt eine zielgerichtete Therapie eine effektive und gute Therapieoption dar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/>
                </a:solidFill>
              </a:rPr>
              <a:t>Die Rezidivrate war im PD1-Arm um 68 % erhöht im Vergleich zur TT-Gruppe (HR </a:t>
            </a:r>
            <a:r>
              <a:rPr lang="pl-PL" sz="1400" dirty="0">
                <a:solidFill>
                  <a:schemeClr val="tx2"/>
                </a:solidFill>
              </a:rPr>
              <a:t>1</a:t>
            </a:r>
            <a:r>
              <a:rPr lang="de-DE" sz="1400" dirty="0">
                <a:solidFill>
                  <a:schemeClr val="tx2"/>
                </a:solidFill>
              </a:rPr>
              <a:t>,</a:t>
            </a:r>
            <a:r>
              <a:rPr lang="pl-PL" sz="1400" dirty="0">
                <a:solidFill>
                  <a:schemeClr val="tx2"/>
                </a:solidFill>
              </a:rPr>
              <a:t>68 </a:t>
            </a:r>
            <a:r>
              <a:rPr lang="de-DE" sz="1400" dirty="0">
                <a:solidFill>
                  <a:schemeClr val="tx2"/>
                </a:solidFill>
              </a:rPr>
              <a:t>[</a:t>
            </a:r>
            <a:r>
              <a:rPr lang="pl-PL" sz="1400" dirty="0">
                <a:solidFill>
                  <a:schemeClr val="tx2"/>
                </a:solidFill>
              </a:rPr>
              <a:t>95%</a:t>
            </a:r>
            <a:r>
              <a:rPr lang="de-DE" sz="1400" dirty="0">
                <a:solidFill>
                  <a:schemeClr val="tx2"/>
                </a:solidFill>
              </a:rPr>
              <a:t>-K</a:t>
            </a:r>
            <a:r>
              <a:rPr lang="pl-PL" sz="1400" dirty="0">
                <a:solidFill>
                  <a:schemeClr val="tx2"/>
                </a:solidFill>
              </a:rPr>
              <a:t>I 0</a:t>
            </a:r>
            <a:r>
              <a:rPr lang="de-DE" sz="1400" dirty="0">
                <a:solidFill>
                  <a:schemeClr val="tx2"/>
                </a:solidFill>
              </a:rPr>
              <a:t>,</a:t>
            </a:r>
            <a:r>
              <a:rPr lang="pl-PL" sz="1400" dirty="0">
                <a:solidFill>
                  <a:schemeClr val="tx2"/>
                </a:solidFill>
              </a:rPr>
              <a:t>91 </a:t>
            </a:r>
            <a:r>
              <a:rPr lang="de-DE" sz="1400" dirty="0">
                <a:solidFill>
                  <a:schemeClr val="tx2"/>
                </a:solidFill>
              </a:rPr>
              <a:t>bis </a:t>
            </a:r>
            <a:r>
              <a:rPr lang="pl-PL" sz="1400" dirty="0">
                <a:solidFill>
                  <a:schemeClr val="tx2"/>
                </a:solidFill>
              </a:rPr>
              <a:t>3</a:t>
            </a:r>
            <a:r>
              <a:rPr lang="de-DE" sz="1400" dirty="0">
                <a:solidFill>
                  <a:schemeClr val="tx2"/>
                </a:solidFill>
              </a:rPr>
              <a:t>,</a:t>
            </a:r>
            <a:r>
              <a:rPr lang="pl-PL" sz="1400" dirty="0">
                <a:solidFill>
                  <a:schemeClr val="tx2"/>
                </a:solidFill>
              </a:rPr>
              <a:t>12</a:t>
            </a:r>
            <a:r>
              <a:rPr lang="de-DE" sz="1400" dirty="0">
                <a:solidFill>
                  <a:schemeClr val="tx2"/>
                </a:solidFill>
              </a:rPr>
              <a:t>])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/>
                </a:solidFill>
              </a:rPr>
              <a:t>Die Ergebnisse für die Patient*innen im PD1-Arm sind vergleichbar mit den Ergebnissen des adjuvanten Therapiearms der NADINA-Studie</a:t>
            </a:r>
            <a:r>
              <a:rPr lang="de-DE" sz="1400" baseline="30000" dirty="0">
                <a:solidFill>
                  <a:schemeClr val="tx2"/>
                </a:solidFill>
              </a:rPr>
              <a:t>1</a:t>
            </a:r>
            <a:r>
              <a:rPr lang="de-DE" sz="1400" dirty="0">
                <a:solidFill>
                  <a:schemeClr val="tx2"/>
                </a:solidFill>
              </a:rPr>
              <a:t>, in der die Patient*innen ebenfalls PD1 erhalten haben</a:t>
            </a:r>
          </a:p>
        </p:txBody>
      </p:sp>
      <p:pic>
        <p:nvPicPr>
          <p:cNvPr id="8" name="Grafik 7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E12BD2BF-39D6-EA62-737F-274EB7DA04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874" y="4451169"/>
            <a:ext cx="720000" cy="720000"/>
          </a:xfrm>
          <a:prstGeom prst="rect">
            <a:avLst/>
          </a:prstGeom>
        </p:spPr>
      </p:pic>
      <p:pic>
        <p:nvPicPr>
          <p:cNvPr id="10" name="Grafik 9" descr="Ein Bild, das Kreis, Grafiken, Screenshot, Design enthält.&#10;&#10;KI-generierte Inhalte können fehlerhaft sein.">
            <a:extLst>
              <a:ext uri="{FF2B5EF4-FFF2-40B4-BE49-F238E27FC236}">
                <a16:creationId xmlns:a16="http://schemas.microsoft.com/office/drawing/2014/main" id="{DFCC5119-B35B-3BF8-1138-61CBE63F97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7758" y="2154329"/>
            <a:ext cx="1122717" cy="1122717"/>
          </a:xfrm>
          <a:prstGeom prst="rect">
            <a:avLst/>
          </a:prstGeom>
          <a:ln>
            <a:noFill/>
          </a:ln>
        </p:spPr>
      </p:pic>
      <p:pic>
        <p:nvPicPr>
          <p:cNvPr id="11" name="Grafik 10" descr="Ein Bild, das Kreis, Grafiken, Screenshot, Design enthält.&#10;&#10;KI-generierte Inhalte können fehlerhaft sein.">
            <a:extLst>
              <a:ext uri="{FF2B5EF4-FFF2-40B4-BE49-F238E27FC236}">
                <a16:creationId xmlns:a16="http://schemas.microsoft.com/office/drawing/2014/main" id="{8EE48796-1F21-D1BC-5F78-7D9CB7EC35D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5724" y="2146265"/>
            <a:ext cx="1122717" cy="1122717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E2352DBF-827A-106B-E7D8-3F23DFA927EF}"/>
              </a:ext>
            </a:extLst>
          </p:cNvPr>
          <p:cNvSpPr txBox="1"/>
          <p:nvPr/>
        </p:nvSpPr>
        <p:spPr>
          <a:xfrm>
            <a:off x="8449235" y="3008537"/>
            <a:ext cx="71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2"/>
                </a:solidFill>
              </a:rPr>
              <a:t>43 %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14200DD-BEA1-CDBF-E83C-FD220C752939}"/>
              </a:ext>
            </a:extLst>
          </p:cNvPr>
          <p:cNvSpPr txBox="1"/>
          <p:nvPr/>
        </p:nvSpPr>
        <p:spPr>
          <a:xfrm>
            <a:off x="10134310" y="3024460"/>
            <a:ext cx="71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6"/>
                </a:solidFill>
              </a:rPr>
              <a:t>53 %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9FFACCF-CBD5-59E2-6A3E-4CB77D98D253}"/>
              </a:ext>
            </a:extLst>
          </p:cNvPr>
          <p:cNvSpPr txBox="1"/>
          <p:nvPr/>
        </p:nvSpPr>
        <p:spPr>
          <a:xfrm>
            <a:off x="8472361" y="2105609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2"/>
                </a:solidFill>
              </a:rPr>
              <a:t>PD1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D89FBA1-1394-9B86-0E38-F59366D32370}"/>
              </a:ext>
            </a:extLst>
          </p:cNvPr>
          <p:cNvSpPr txBox="1"/>
          <p:nvPr/>
        </p:nvSpPr>
        <p:spPr>
          <a:xfrm>
            <a:off x="10256139" y="2105609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6"/>
                </a:solidFill>
              </a:rPr>
              <a:t>TT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A62BF27-219F-8885-416B-8F69E924A2C2}"/>
              </a:ext>
            </a:extLst>
          </p:cNvPr>
          <p:cNvSpPr txBox="1"/>
          <p:nvPr/>
        </p:nvSpPr>
        <p:spPr>
          <a:xfrm>
            <a:off x="7566697" y="1570402"/>
            <a:ext cx="38683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0375" lvl="1" indent="-2857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-Jahres-RFS</a:t>
            </a:r>
            <a:r>
              <a:rPr lang="de-DE" sz="1600" b="1" dirty="0">
                <a:solidFill>
                  <a:schemeClr val="tx2"/>
                </a:solidFill>
                <a:latin typeface="Arial" panose="020B0604020202020204"/>
              </a:rPr>
              <a:t>-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t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07F04F8-49EC-3A1E-BA6D-5E3DC86BCCB9}"/>
              </a:ext>
            </a:extLst>
          </p:cNvPr>
          <p:cNvSpPr txBox="1"/>
          <p:nvPr/>
        </p:nvSpPr>
        <p:spPr>
          <a:xfrm>
            <a:off x="1441920" y="4006204"/>
            <a:ext cx="271564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nzahl unter Risiko</a:t>
            </a:r>
          </a:p>
        </p:txBody>
      </p:sp>
      <p:graphicFrame>
        <p:nvGraphicFramePr>
          <p:cNvPr id="17" name="Tabelle 16">
            <a:extLst>
              <a:ext uri="{FF2B5EF4-FFF2-40B4-BE49-F238E27FC236}">
                <a16:creationId xmlns:a16="http://schemas.microsoft.com/office/drawing/2014/main" id="{7B3E923A-E69F-9D0D-B5C5-D141AE379A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939103"/>
              </p:ext>
            </p:extLst>
          </p:nvPr>
        </p:nvGraphicFramePr>
        <p:xfrm>
          <a:off x="1449099" y="4264849"/>
          <a:ext cx="6004130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5830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545830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2"/>
                          </a:solidFill>
                        </a:rPr>
                        <a:t>PD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3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8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8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6"/>
                          </a:solidFill>
                        </a:rPr>
                        <a:t>T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3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3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2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2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2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3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</a:tbl>
          </a:graphicData>
        </a:graphic>
      </p:graphicFrame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E3B6068B-8537-C8B1-C56B-F6AF50667C1B}"/>
              </a:ext>
            </a:extLst>
          </p:cNvPr>
          <p:cNvGrpSpPr/>
          <p:nvPr/>
        </p:nvGrpSpPr>
        <p:grpSpPr>
          <a:xfrm>
            <a:off x="1130325" y="1441203"/>
            <a:ext cx="6467766" cy="2679853"/>
            <a:chOff x="1092838" y="1325751"/>
            <a:chExt cx="6467766" cy="2826658"/>
          </a:xfrm>
        </p:grpSpPr>
        <p:graphicFrame>
          <p:nvGraphicFramePr>
            <p:cNvPr id="18" name="Diagramm 17">
              <a:extLst>
                <a:ext uri="{FF2B5EF4-FFF2-40B4-BE49-F238E27FC236}">
                  <a16:creationId xmlns:a16="http://schemas.microsoft.com/office/drawing/2014/main" id="{07C58A89-C843-0CA5-189B-29AD727A99A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09449992"/>
                </p:ext>
              </p:extLst>
            </p:nvPr>
          </p:nvGraphicFramePr>
          <p:xfrm>
            <a:off x="1092838" y="1325751"/>
            <a:ext cx="6467766" cy="282665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0F47D67D-541A-9CB4-A5A6-C2632BD6D252}"/>
                </a:ext>
              </a:extLst>
            </p:cNvPr>
            <p:cNvCxnSpPr>
              <a:cxnSpLocks/>
            </p:cNvCxnSpPr>
            <p:nvPr/>
          </p:nvCxnSpPr>
          <p:spPr>
            <a:xfrm>
              <a:off x="6606220" y="2525646"/>
              <a:ext cx="0" cy="1133052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1FDF8CA5-7ABE-4D5A-5EFA-97EC1559A993}"/>
                </a:ext>
              </a:extLst>
            </p:cNvPr>
            <p:cNvCxnSpPr>
              <a:cxnSpLocks/>
            </p:cNvCxnSpPr>
            <p:nvPr/>
          </p:nvCxnSpPr>
          <p:spPr>
            <a:xfrm>
              <a:off x="3345495" y="1757334"/>
              <a:ext cx="0" cy="1901364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7DCC6511-9F0C-CE33-BB26-B82061D7DD2F}"/>
                </a:ext>
              </a:extLst>
            </p:cNvPr>
            <p:cNvCxnSpPr>
              <a:cxnSpLocks/>
            </p:cNvCxnSpPr>
            <p:nvPr/>
          </p:nvCxnSpPr>
          <p:spPr>
            <a:xfrm>
              <a:off x="4423143" y="2138334"/>
              <a:ext cx="0" cy="1520364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FB42C72F-9736-6E39-8F7B-23AE7689AB8D}"/>
                </a:ext>
              </a:extLst>
            </p:cNvPr>
            <p:cNvCxnSpPr>
              <a:cxnSpLocks/>
            </p:cNvCxnSpPr>
            <p:nvPr/>
          </p:nvCxnSpPr>
          <p:spPr>
            <a:xfrm>
              <a:off x="5523279" y="2525684"/>
              <a:ext cx="0" cy="1133014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323BDBF0-84E1-1442-7F4E-0E6EC851886C}"/>
                </a:ext>
              </a:extLst>
            </p:cNvPr>
            <p:cNvSpPr/>
            <p:nvPr/>
          </p:nvSpPr>
          <p:spPr>
            <a:xfrm>
              <a:off x="2257055" y="1445953"/>
              <a:ext cx="4965220" cy="1281025"/>
            </a:xfrm>
            <a:custGeom>
              <a:avLst/>
              <a:gdLst>
                <a:gd name="connsiteX0" fmla="*/ 0 w 4965220"/>
                <a:gd name="connsiteY0" fmla="*/ 14265 h 1281025"/>
                <a:gd name="connsiteX1" fmla="*/ 35424 w 4965220"/>
                <a:gd name="connsiteY1" fmla="*/ 14265 h 1281025"/>
                <a:gd name="connsiteX2" fmla="*/ 35424 w 4965220"/>
                <a:gd name="connsiteY2" fmla="*/ 56259 h 1281025"/>
                <a:gd name="connsiteX3" fmla="*/ 37320 w 4965220"/>
                <a:gd name="connsiteY3" fmla="*/ 61325 h 1281025"/>
                <a:gd name="connsiteX4" fmla="*/ 41822 w 4965220"/>
                <a:gd name="connsiteY4" fmla="*/ 63458 h 1281025"/>
                <a:gd name="connsiteX5" fmla="*/ 97980 w 4965220"/>
                <a:gd name="connsiteY5" fmla="*/ 63458 h 1281025"/>
                <a:gd name="connsiteX6" fmla="*/ 97980 w 4965220"/>
                <a:gd name="connsiteY6" fmla="*/ 105452 h 1281025"/>
                <a:gd name="connsiteX7" fmla="*/ 99875 w 4965220"/>
                <a:gd name="connsiteY7" fmla="*/ 110518 h 1281025"/>
                <a:gd name="connsiteX8" fmla="*/ 104378 w 4965220"/>
                <a:gd name="connsiteY8" fmla="*/ 112651 h 1281025"/>
                <a:gd name="connsiteX9" fmla="*/ 107339 w 4965220"/>
                <a:gd name="connsiteY9" fmla="*/ 112651 h 1281025"/>
                <a:gd name="connsiteX10" fmla="*/ 107339 w 4965220"/>
                <a:gd name="connsiteY10" fmla="*/ 105452 h 1281025"/>
                <a:gd name="connsiteX11" fmla="*/ 100942 w 4965220"/>
                <a:gd name="connsiteY11" fmla="*/ 105452 h 1281025"/>
                <a:gd name="connsiteX12" fmla="*/ 100942 w 4965220"/>
                <a:gd name="connsiteY12" fmla="*/ 154646 h 1281025"/>
                <a:gd name="connsiteX13" fmla="*/ 102837 w 4965220"/>
                <a:gd name="connsiteY13" fmla="*/ 159712 h 1281025"/>
                <a:gd name="connsiteX14" fmla="*/ 107339 w 4965220"/>
                <a:gd name="connsiteY14" fmla="*/ 161845 h 1281025"/>
                <a:gd name="connsiteX15" fmla="*/ 163497 w 4965220"/>
                <a:gd name="connsiteY15" fmla="*/ 161845 h 1281025"/>
                <a:gd name="connsiteX16" fmla="*/ 163497 w 4965220"/>
                <a:gd name="connsiteY16" fmla="*/ 203839 h 1281025"/>
                <a:gd name="connsiteX17" fmla="*/ 165393 w 4965220"/>
                <a:gd name="connsiteY17" fmla="*/ 208905 h 1281025"/>
                <a:gd name="connsiteX18" fmla="*/ 169895 w 4965220"/>
                <a:gd name="connsiteY18" fmla="*/ 211038 h 1281025"/>
                <a:gd name="connsiteX19" fmla="*/ 187429 w 4965220"/>
                <a:gd name="connsiteY19" fmla="*/ 211038 h 1281025"/>
                <a:gd name="connsiteX20" fmla="*/ 187429 w 4965220"/>
                <a:gd name="connsiteY20" fmla="*/ 253032 h 1281025"/>
                <a:gd name="connsiteX21" fmla="*/ 189325 w 4965220"/>
                <a:gd name="connsiteY21" fmla="*/ 258098 h 1281025"/>
                <a:gd name="connsiteX22" fmla="*/ 193827 w 4965220"/>
                <a:gd name="connsiteY22" fmla="*/ 260231 h 1281025"/>
                <a:gd name="connsiteX23" fmla="*/ 211243 w 4965220"/>
                <a:gd name="connsiteY23" fmla="*/ 260231 h 1281025"/>
                <a:gd name="connsiteX24" fmla="*/ 211243 w 4965220"/>
                <a:gd name="connsiteY24" fmla="*/ 302226 h 1281025"/>
                <a:gd name="connsiteX25" fmla="*/ 213139 w 4965220"/>
                <a:gd name="connsiteY25" fmla="*/ 307291 h 1281025"/>
                <a:gd name="connsiteX26" fmla="*/ 217641 w 4965220"/>
                <a:gd name="connsiteY26" fmla="*/ 309425 h 1281025"/>
                <a:gd name="connsiteX27" fmla="*/ 318464 w 4965220"/>
                <a:gd name="connsiteY27" fmla="*/ 309425 h 1281025"/>
                <a:gd name="connsiteX28" fmla="*/ 318464 w 4965220"/>
                <a:gd name="connsiteY28" fmla="*/ 351419 h 1281025"/>
                <a:gd name="connsiteX29" fmla="*/ 320360 w 4965220"/>
                <a:gd name="connsiteY29" fmla="*/ 356485 h 1281025"/>
                <a:gd name="connsiteX30" fmla="*/ 324862 w 4965220"/>
                <a:gd name="connsiteY30" fmla="*/ 358618 h 1281025"/>
                <a:gd name="connsiteX31" fmla="*/ 506012 w 4965220"/>
                <a:gd name="connsiteY31" fmla="*/ 358618 h 1281025"/>
                <a:gd name="connsiteX32" fmla="*/ 506012 w 4965220"/>
                <a:gd name="connsiteY32" fmla="*/ 401945 h 1281025"/>
                <a:gd name="connsiteX33" fmla="*/ 507908 w 4965220"/>
                <a:gd name="connsiteY33" fmla="*/ 407011 h 1281025"/>
                <a:gd name="connsiteX34" fmla="*/ 512410 w 4965220"/>
                <a:gd name="connsiteY34" fmla="*/ 409144 h 1281025"/>
                <a:gd name="connsiteX35" fmla="*/ 518334 w 4965220"/>
                <a:gd name="connsiteY35" fmla="*/ 409144 h 1281025"/>
                <a:gd name="connsiteX36" fmla="*/ 518334 w 4965220"/>
                <a:gd name="connsiteY36" fmla="*/ 401945 h 1281025"/>
                <a:gd name="connsiteX37" fmla="*/ 511936 w 4965220"/>
                <a:gd name="connsiteY37" fmla="*/ 401945 h 1281025"/>
                <a:gd name="connsiteX38" fmla="*/ 511936 w 4965220"/>
                <a:gd name="connsiteY38" fmla="*/ 452472 h 1281025"/>
                <a:gd name="connsiteX39" fmla="*/ 513831 w 4965220"/>
                <a:gd name="connsiteY39" fmla="*/ 457538 h 1281025"/>
                <a:gd name="connsiteX40" fmla="*/ 518334 w 4965220"/>
                <a:gd name="connsiteY40" fmla="*/ 459671 h 1281025"/>
                <a:gd name="connsiteX41" fmla="*/ 541792 w 4965220"/>
                <a:gd name="connsiteY41" fmla="*/ 459671 h 1281025"/>
                <a:gd name="connsiteX42" fmla="*/ 541792 w 4965220"/>
                <a:gd name="connsiteY42" fmla="*/ 502998 h 1281025"/>
                <a:gd name="connsiteX43" fmla="*/ 543687 w 4965220"/>
                <a:gd name="connsiteY43" fmla="*/ 508064 h 1281025"/>
                <a:gd name="connsiteX44" fmla="*/ 548190 w 4965220"/>
                <a:gd name="connsiteY44" fmla="*/ 510197 h 1281025"/>
                <a:gd name="connsiteX45" fmla="*/ 583495 w 4965220"/>
                <a:gd name="connsiteY45" fmla="*/ 510197 h 1281025"/>
                <a:gd name="connsiteX46" fmla="*/ 583495 w 4965220"/>
                <a:gd name="connsiteY46" fmla="*/ 553525 h 1281025"/>
                <a:gd name="connsiteX47" fmla="*/ 585391 w 4965220"/>
                <a:gd name="connsiteY47" fmla="*/ 558591 h 1281025"/>
                <a:gd name="connsiteX48" fmla="*/ 589893 w 4965220"/>
                <a:gd name="connsiteY48" fmla="*/ 560724 h 1281025"/>
                <a:gd name="connsiteX49" fmla="*/ 625199 w 4965220"/>
                <a:gd name="connsiteY49" fmla="*/ 560724 h 1281025"/>
                <a:gd name="connsiteX50" fmla="*/ 625199 w 4965220"/>
                <a:gd name="connsiteY50" fmla="*/ 604051 h 1281025"/>
                <a:gd name="connsiteX51" fmla="*/ 627095 w 4965220"/>
                <a:gd name="connsiteY51" fmla="*/ 609117 h 1281025"/>
                <a:gd name="connsiteX52" fmla="*/ 631597 w 4965220"/>
                <a:gd name="connsiteY52" fmla="*/ 611250 h 1281025"/>
                <a:gd name="connsiteX53" fmla="*/ 672827 w 4965220"/>
                <a:gd name="connsiteY53" fmla="*/ 611250 h 1281025"/>
                <a:gd name="connsiteX54" fmla="*/ 672827 w 4965220"/>
                <a:gd name="connsiteY54" fmla="*/ 654711 h 1281025"/>
                <a:gd name="connsiteX55" fmla="*/ 674722 w 4965220"/>
                <a:gd name="connsiteY55" fmla="*/ 659777 h 1281025"/>
                <a:gd name="connsiteX56" fmla="*/ 679224 w 4965220"/>
                <a:gd name="connsiteY56" fmla="*/ 661910 h 1281025"/>
                <a:gd name="connsiteX57" fmla="*/ 682186 w 4965220"/>
                <a:gd name="connsiteY57" fmla="*/ 661910 h 1281025"/>
                <a:gd name="connsiteX58" fmla="*/ 682186 w 4965220"/>
                <a:gd name="connsiteY58" fmla="*/ 654844 h 1281025"/>
                <a:gd name="connsiteX59" fmla="*/ 675788 w 4965220"/>
                <a:gd name="connsiteY59" fmla="*/ 654844 h 1281025"/>
                <a:gd name="connsiteX60" fmla="*/ 675788 w 4965220"/>
                <a:gd name="connsiteY60" fmla="*/ 705371 h 1281025"/>
                <a:gd name="connsiteX61" fmla="*/ 677684 w 4965220"/>
                <a:gd name="connsiteY61" fmla="*/ 710437 h 1281025"/>
                <a:gd name="connsiteX62" fmla="*/ 682186 w 4965220"/>
                <a:gd name="connsiteY62" fmla="*/ 712570 h 1281025"/>
                <a:gd name="connsiteX63" fmla="*/ 806823 w 4965220"/>
                <a:gd name="connsiteY63" fmla="*/ 712570 h 1281025"/>
                <a:gd name="connsiteX64" fmla="*/ 806823 w 4965220"/>
                <a:gd name="connsiteY64" fmla="*/ 806424 h 1281025"/>
                <a:gd name="connsiteX65" fmla="*/ 808719 w 4965220"/>
                <a:gd name="connsiteY65" fmla="*/ 811489 h 1281025"/>
                <a:gd name="connsiteX66" fmla="*/ 813221 w 4965220"/>
                <a:gd name="connsiteY66" fmla="*/ 813623 h 1281025"/>
                <a:gd name="connsiteX67" fmla="*/ 884307 w 4965220"/>
                <a:gd name="connsiteY67" fmla="*/ 813623 h 1281025"/>
                <a:gd name="connsiteX68" fmla="*/ 884307 w 4965220"/>
                <a:gd name="connsiteY68" fmla="*/ 856950 h 1281025"/>
                <a:gd name="connsiteX69" fmla="*/ 886202 w 4965220"/>
                <a:gd name="connsiteY69" fmla="*/ 862016 h 1281025"/>
                <a:gd name="connsiteX70" fmla="*/ 890704 w 4965220"/>
                <a:gd name="connsiteY70" fmla="*/ 864149 h 1281025"/>
                <a:gd name="connsiteX71" fmla="*/ 973638 w 4965220"/>
                <a:gd name="connsiteY71" fmla="*/ 864149 h 1281025"/>
                <a:gd name="connsiteX72" fmla="*/ 973638 w 4965220"/>
                <a:gd name="connsiteY72" fmla="*/ 907476 h 1281025"/>
                <a:gd name="connsiteX73" fmla="*/ 975533 w 4965220"/>
                <a:gd name="connsiteY73" fmla="*/ 912542 h 1281025"/>
                <a:gd name="connsiteX74" fmla="*/ 980035 w 4965220"/>
                <a:gd name="connsiteY74" fmla="*/ 914675 h 1281025"/>
                <a:gd name="connsiteX75" fmla="*/ 1036193 w 4965220"/>
                <a:gd name="connsiteY75" fmla="*/ 914675 h 1281025"/>
                <a:gd name="connsiteX76" fmla="*/ 1036193 w 4965220"/>
                <a:gd name="connsiteY76" fmla="*/ 958003 h 1281025"/>
                <a:gd name="connsiteX77" fmla="*/ 1038089 w 4965220"/>
                <a:gd name="connsiteY77" fmla="*/ 963069 h 1281025"/>
                <a:gd name="connsiteX78" fmla="*/ 1042591 w 4965220"/>
                <a:gd name="connsiteY78" fmla="*/ 965202 h 1281025"/>
                <a:gd name="connsiteX79" fmla="*/ 1286296 w 4965220"/>
                <a:gd name="connsiteY79" fmla="*/ 965202 h 1281025"/>
                <a:gd name="connsiteX80" fmla="*/ 1286296 w 4965220"/>
                <a:gd name="connsiteY80" fmla="*/ 1010662 h 1281025"/>
                <a:gd name="connsiteX81" fmla="*/ 1288192 w 4965220"/>
                <a:gd name="connsiteY81" fmla="*/ 1015728 h 1281025"/>
                <a:gd name="connsiteX82" fmla="*/ 1292694 w 4965220"/>
                <a:gd name="connsiteY82" fmla="*/ 1017861 h 1281025"/>
                <a:gd name="connsiteX83" fmla="*/ 1622651 w 4965220"/>
                <a:gd name="connsiteY83" fmla="*/ 1017861 h 1281025"/>
                <a:gd name="connsiteX84" fmla="*/ 1622651 w 4965220"/>
                <a:gd name="connsiteY84" fmla="*/ 1063322 h 1281025"/>
                <a:gd name="connsiteX85" fmla="*/ 1624546 w 4965220"/>
                <a:gd name="connsiteY85" fmla="*/ 1068388 h 1281025"/>
                <a:gd name="connsiteX86" fmla="*/ 1629048 w 4965220"/>
                <a:gd name="connsiteY86" fmla="*/ 1070521 h 1281025"/>
                <a:gd name="connsiteX87" fmla="*/ 1637579 w 4965220"/>
                <a:gd name="connsiteY87" fmla="*/ 1070521 h 1281025"/>
                <a:gd name="connsiteX88" fmla="*/ 1637579 w 4965220"/>
                <a:gd name="connsiteY88" fmla="*/ 1115981 h 1281025"/>
                <a:gd name="connsiteX89" fmla="*/ 1639474 w 4965220"/>
                <a:gd name="connsiteY89" fmla="*/ 1121047 h 1281025"/>
                <a:gd name="connsiteX90" fmla="*/ 1643976 w 4965220"/>
                <a:gd name="connsiteY90" fmla="*/ 1123180 h 1281025"/>
                <a:gd name="connsiteX91" fmla="*/ 1661511 w 4965220"/>
                <a:gd name="connsiteY91" fmla="*/ 1123180 h 1281025"/>
                <a:gd name="connsiteX92" fmla="*/ 1661511 w 4965220"/>
                <a:gd name="connsiteY92" fmla="*/ 1168508 h 1281025"/>
                <a:gd name="connsiteX93" fmla="*/ 1663406 w 4965220"/>
                <a:gd name="connsiteY93" fmla="*/ 1173574 h 1281025"/>
                <a:gd name="connsiteX94" fmla="*/ 1667908 w 4965220"/>
                <a:gd name="connsiteY94" fmla="*/ 1175707 h 1281025"/>
                <a:gd name="connsiteX95" fmla="*/ 1679401 w 4965220"/>
                <a:gd name="connsiteY95" fmla="*/ 1175707 h 1281025"/>
                <a:gd name="connsiteX96" fmla="*/ 1679401 w 4965220"/>
                <a:gd name="connsiteY96" fmla="*/ 1221167 h 1281025"/>
                <a:gd name="connsiteX97" fmla="*/ 1681296 w 4965220"/>
                <a:gd name="connsiteY97" fmla="*/ 1226233 h 1281025"/>
                <a:gd name="connsiteX98" fmla="*/ 1685798 w 4965220"/>
                <a:gd name="connsiteY98" fmla="*/ 1228366 h 1281025"/>
                <a:gd name="connsiteX99" fmla="*/ 1863987 w 4965220"/>
                <a:gd name="connsiteY99" fmla="*/ 1228366 h 1281025"/>
                <a:gd name="connsiteX100" fmla="*/ 1863987 w 4965220"/>
                <a:gd name="connsiteY100" fmla="*/ 1273827 h 1281025"/>
                <a:gd name="connsiteX101" fmla="*/ 1865882 w 4965220"/>
                <a:gd name="connsiteY101" fmla="*/ 1278893 h 1281025"/>
                <a:gd name="connsiteX102" fmla="*/ 1870384 w 4965220"/>
                <a:gd name="connsiteY102" fmla="*/ 1281026 h 1281025"/>
                <a:gd name="connsiteX103" fmla="*/ 4965220 w 4965220"/>
                <a:gd name="connsiteY103" fmla="*/ 1281026 h 1281025"/>
                <a:gd name="connsiteX104" fmla="*/ 4965220 w 4965220"/>
                <a:gd name="connsiteY104" fmla="*/ 1266761 h 1281025"/>
                <a:gd name="connsiteX105" fmla="*/ 1875597 w 4965220"/>
                <a:gd name="connsiteY105" fmla="*/ 1266761 h 1281025"/>
                <a:gd name="connsiteX106" fmla="*/ 1875597 w 4965220"/>
                <a:gd name="connsiteY106" fmla="*/ 1221300 h 1281025"/>
                <a:gd name="connsiteX107" fmla="*/ 1873702 w 4965220"/>
                <a:gd name="connsiteY107" fmla="*/ 1216234 h 1281025"/>
                <a:gd name="connsiteX108" fmla="*/ 1869200 w 4965220"/>
                <a:gd name="connsiteY108" fmla="*/ 1214101 h 1281025"/>
                <a:gd name="connsiteX109" fmla="*/ 1691011 w 4965220"/>
                <a:gd name="connsiteY109" fmla="*/ 1214101 h 1281025"/>
                <a:gd name="connsiteX110" fmla="*/ 1691011 w 4965220"/>
                <a:gd name="connsiteY110" fmla="*/ 1168641 h 1281025"/>
                <a:gd name="connsiteX111" fmla="*/ 1689116 w 4965220"/>
                <a:gd name="connsiteY111" fmla="*/ 1163575 h 1281025"/>
                <a:gd name="connsiteX112" fmla="*/ 1684614 w 4965220"/>
                <a:gd name="connsiteY112" fmla="*/ 1161442 h 1281025"/>
                <a:gd name="connsiteX113" fmla="*/ 1673121 w 4965220"/>
                <a:gd name="connsiteY113" fmla="*/ 1161442 h 1281025"/>
                <a:gd name="connsiteX114" fmla="*/ 1673121 w 4965220"/>
                <a:gd name="connsiteY114" fmla="*/ 1116115 h 1281025"/>
                <a:gd name="connsiteX115" fmla="*/ 1671226 w 4965220"/>
                <a:gd name="connsiteY115" fmla="*/ 1111049 h 1281025"/>
                <a:gd name="connsiteX116" fmla="*/ 1666724 w 4965220"/>
                <a:gd name="connsiteY116" fmla="*/ 1108916 h 1281025"/>
                <a:gd name="connsiteX117" fmla="*/ 1649189 w 4965220"/>
                <a:gd name="connsiteY117" fmla="*/ 1108916 h 1281025"/>
                <a:gd name="connsiteX118" fmla="*/ 1649189 w 4965220"/>
                <a:gd name="connsiteY118" fmla="*/ 1063455 h 1281025"/>
                <a:gd name="connsiteX119" fmla="*/ 1647293 w 4965220"/>
                <a:gd name="connsiteY119" fmla="*/ 1058389 h 1281025"/>
                <a:gd name="connsiteX120" fmla="*/ 1642791 w 4965220"/>
                <a:gd name="connsiteY120" fmla="*/ 1056256 h 1281025"/>
                <a:gd name="connsiteX121" fmla="*/ 1634261 w 4965220"/>
                <a:gd name="connsiteY121" fmla="*/ 1056256 h 1281025"/>
                <a:gd name="connsiteX122" fmla="*/ 1634261 w 4965220"/>
                <a:gd name="connsiteY122" fmla="*/ 1010796 h 1281025"/>
                <a:gd name="connsiteX123" fmla="*/ 1632366 w 4965220"/>
                <a:gd name="connsiteY123" fmla="*/ 1005730 h 1281025"/>
                <a:gd name="connsiteX124" fmla="*/ 1627863 w 4965220"/>
                <a:gd name="connsiteY124" fmla="*/ 1003597 h 1281025"/>
                <a:gd name="connsiteX125" fmla="*/ 1297907 w 4965220"/>
                <a:gd name="connsiteY125" fmla="*/ 1003597 h 1281025"/>
                <a:gd name="connsiteX126" fmla="*/ 1297907 w 4965220"/>
                <a:gd name="connsiteY126" fmla="*/ 958136 h 1281025"/>
                <a:gd name="connsiteX127" fmla="*/ 1296012 w 4965220"/>
                <a:gd name="connsiteY127" fmla="*/ 953070 h 1281025"/>
                <a:gd name="connsiteX128" fmla="*/ 1291509 w 4965220"/>
                <a:gd name="connsiteY128" fmla="*/ 950937 h 1281025"/>
                <a:gd name="connsiteX129" fmla="*/ 1047804 w 4965220"/>
                <a:gd name="connsiteY129" fmla="*/ 950937 h 1281025"/>
                <a:gd name="connsiteX130" fmla="*/ 1047804 w 4965220"/>
                <a:gd name="connsiteY130" fmla="*/ 907610 h 1281025"/>
                <a:gd name="connsiteX131" fmla="*/ 1045908 w 4965220"/>
                <a:gd name="connsiteY131" fmla="*/ 902544 h 1281025"/>
                <a:gd name="connsiteX132" fmla="*/ 1041406 w 4965220"/>
                <a:gd name="connsiteY132" fmla="*/ 900411 h 1281025"/>
                <a:gd name="connsiteX133" fmla="*/ 985248 w 4965220"/>
                <a:gd name="connsiteY133" fmla="*/ 900411 h 1281025"/>
                <a:gd name="connsiteX134" fmla="*/ 985248 w 4965220"/>
                <a:gd name="connsiteY134" fmla="*/ 857083 h 1281025"/>
                <a:gd name="connsiteX135" fmla="*/ 983353 w 4965220"/>
                <a:gd name="connsiteY135" fmla="*/ 852017 h 1281025"/>
                <a:gd name="connsiteX136" fmla="*/ 978851 w 4965220"/>
                <a:gd name="connsiteY136" fmla="*/ 849884 h 1281025"/>
                <a:gd name="connsiteX137" fmla="*/ 895917 w 4965220"/>
                <a:gd name="connsiteY137" fmla="*/ 849884 h 1281025"/>
                <a:gd name="connsiteX138" fmla="*/ 895917 w 4965220"/>
                <a:gd name="connsiteY138" fmla="*/ 806557 h 1281025"/>
                <a:gd name="connsiteX139" fmla="*/ 894022 w 4965220"/>
                <a:gd name="connsiteY139" fmla="*/ 801491 h 1281025"/>
                <a:gd name="connsiteX140" fmla="*/ 889520 w 4965220"/>
                <a:gd name="connsiteY140" fmla="*/ 799358 h 1281025"/>
                <a:gd name="connsiteX141" fmla="*/ 818434 w 4965220"/>
                <a:gd name="connsiteY141" fmla="*/ 799358 h 1281025"/>
                <a:gd name="connsiteX142" fmla="*/ 818434 w 4965220"/>
                <a:gd name="connsiteY142" fmla="*/ 705504 h 1281025"/>
                <a:gd name="connsiteX143" fmla="*/ 816538 w 4965220"/>
                <a:gd name="connsiteY143" fmla="*/ 700438 h 1281025"/>
                <a:gd name="connsiteX144" fmla="*/ 812036 w 4965220"/>
                <a:gd name="connsiteY144" fmla="*/ 698305 h 1281025"/>
                <a:gd name="connsiteX145" fmla="*/ 687399 w 4965220"/>
                <a:gd name="connsiteY145" fmla="*/ 698305 h 1281025"/>
                <a:gd name="connsiteX146" fmla="*/ 687399 w 4965220"/>
                <a:gd name="connsiteY146" fmla="*/ 654977 h 1281025"/>
                <a:gd name="connsiteX147" fmla="*/ 685504 w 4965220"/>
                <a:gd name="connsiteY147" fmla="*/ 649911 h 1281025"/>
                <a:gd name="connsiteX148" fmla="*/ 681001 w 4965220"/>
                <a:gd name="connsiteY148" fmla="*/ 647778 h 1281025"/>
                <a:gd name="connsiteX149" fmla="*/ 678039 w 4965220"/>
                <a:gd name="connsiteY149" fmla="*/ 647778 h 1281025"/>
                <a:gd name="connsiteX150" fmla="*/ 678039 w 4965220"/>
                <a:gd name="connsiteY150" fmla="*/ 654977 h 1281025"/>
                <a:gd name="connsiteX151" fmla="*/ 684437 w 4965220"/>
                <a:gd name="connsiteY151" fmla="*/ 654977 h 1281025"/>
                <a:gd name="connsiteX152" fmla="*/ 684437 w 4965220"/>
                <a:gd name="connsiteY152" fmla="*/ 604451 h 1281025"/>
                <a:gd name="connsiteX153" fmla="*/ 682542 w 4965220"/>
                <a:gd name="connsiteY153" fmla="*/ 599385 h 1281025"/>
                <a:gd name="connsiteX154" fmla="*/ 678039 w 4965220"/>
                <a:gd name="connsiteY154" fmla="*/ 597252 h 1281025"/>
                <a:gd name="connsiteX155" fmla="*/ 636810 w 4965220"/>
                <a:gd name="connsiteY155" fmla="*/ 597252 h 1281025"/>
                <a:gd name="connsiteX156" fmla="*/ 636810 w 4965220"/>
                <a:gd name="connsiteY156" fmla="*/ 553925 h 1281025"/>
                <a:gd name="connsiteX157" fmla="*/ 634914 w 4965220"/>
                <a:gd name="connsiteY157" fmla="*/ 548859 h 1281025"/>
                <a:gd name="connsiteX158" fmla="*/ 630412 w 4965220"/>
                <a:gd name="connsiteY158" fmla="*/ 546726 h 1281025"/>
                <a:gd name="connsiteX159" fmla="*/ 595106 w 4965220"/>
                <a:gd name="connsiteY159" fmla="*/ 546726 h 1281025"/>
                <a:gd name="connsiteX160" fmla="*/ 595106 w 4965220"/>
                <a:gd name="connsiteY160" fmla="*/ 503398 h 1281025"/>
                <a:gd name="connsiteX161" fmla="*/ 593211 w 4965220"/>
                <a:gd name="connsiteY161" fmla="*/ 498332 h 1281025"/>
                <a:gd name="connsiteX162" fmla="*/ 588708 w 4965220"/>
                <a:gd name="connsiteY162" fmla="*/ 496199 h 1281025"/>
                <a:gd name="connsiteX163" fmla="*/ 553402 w 4965220"/>
                <a:gd name="connsiteY163" fmla="*/ 496199 h 1281025"/>
                <a:gd name="connsiteX164" fmla="*/ 553402 w 4965220"/>
                <a:gd name="connsiteY164" fmla="*/ 452872 h 1281025"/>
                <a:gd name="connsiteX165" fmla="*/ 551507 w 4965220"/>
                <a:gd name="connsiteY165" fmla="*/ 447806 h 1281025"/>
                <a:gd name="connsiteX166" fmla="*/ 547005 w 4965220"/>
                <a:gd name="connsiteY166" fmla="*/ 445673 h 1281025"/>
                <a:gd name="connsiteX167" fmla="*/ 523546 w 4965220"/>
                <a:gd name="connsiteY167" fmla="*/ 445673 h 1281025"/>
                <a:gd name="connsiteX168" fmla="*/ 523546 w 4965220"/>
                <a:gd name="connsiteY168" fmla="*/ 402345 h 1281025"/>
                <a:gd name="connsiteX169" fmla="*/ 521651 w 4965220"/>
                <a:gd name="connsiteY169" fmla="*/ 397279 h 1281025"/>
                <a:gd name="connsiteX170" fmla="*/ 517149 w 4965220"/>
                <a:gd name="connsiteY170" fmla="*/ 395146 h 1281025"/>
                <a:gd name="connsiteX171" fmla="*/ 511225 w 4965220"/>
                <a:gd name="connsiteY171" fmla="*/ 395146 h 1281025"/>
                <a:gd name="connsiteX172" fmla="*/ 511225 w 4965220"/>
                <a:gd name="connsiteY172" fmla="*/ 402345 h 1281025"/>
                <a:gd name="connsiteX173" fmla="*/ 517623 w 4965220"/>
                <a:gd name="connsiteY173" fmla="*/ 402345 h 1281025"/>
                <a:gd name="connsiteX174" fmla="*/ 517623 w 4965220"/>
                <a:gd name="connsiteY174" fmla="*/ 351819 h 1281025"/>
                <a:gd name="connsiteX175" fmla="*/ 515727 w 4965220"/>
                <a:gd name="connsiteY175" fmla="*/ 346753 h 1281025"/>
                <a:gd name="connsiteX176" fmla="*/ 511225 w 4965220"/>
                <a:gd name="connsiteY176" fmla="*/ 344620 h 1281025"/>
                <a:gd name="connsiteX177" fmla="*/ 330075 w 4965220"/>
                <a:gd name="connsiteY177" fmla="*/ 344620 h 1281025"/>
                <a:gd name="connsiteX178" fmla="*/ 330075 w 4965220"/>
                <a:gd name="connsiteY178" fmla="*/ 302625 h 1281025"/>
                <a:gd name="connsiteX179" fmla="*/ 328179 w 4965220"/>
                <a:gd name="connsiteY179" fmla="*/ 297559 h 1281025"/>
                <a:gd name="connsiteX180" fmla="*/ 323677 w 4965220"/>
                <a:gd name="connsiteY180" fmla="*/ 295426 h 1281025"/>
                <a:gd name="connsiteX181" fmla="*/ 222854 w 4965220"/>
                <a:gd name="connsiteY181" fmla="*/ 295426 h 1281025"/>
                <a:gd name="connsiteX182" fmla="*/ 222854 w 4965220"/>
                <a:gd name="connsiteY182" fmla="*/ 253432 h 1281025"/>
                <a:gd name="connsiteX183" fmla="*/ 220958 w 4965220"/>
                <a:gd name="connsiteY183" fmla="*/ 248366 h 1281025"/>
                <a:gd name="connsiteX184" fmla="*/ 216456 w 4965220"/>
                <a:gd name="connsiteY184" fmla="*/ 246233 h 1281025"/>
                <a:gd name="connsiteX185" fmla="*/ 199040 w 4965220"/>
                <a:gd name="connsiteY185" fmla="*/ 246233 h 1281025"/>
                <a:gd name="connsiteX186" fmla="*/ 199040 w 4965220"/>
                <a:gd name="connsiteY186" fmla="*/ 204239 h 1281025"/>
                <a:gd name="connsiteX187" fmla="*/ 197144 w 4965220"/>
                <a:gd name="connsiteY187" fmla="*/ 199173 h 1281025"/>
                <a:gd name="connsiteX188" fmla="*/ 192642 w 4965220"/>
                <a:gd name="connsiteY188" fmla="*/ 197040 h 1281025"/>
                <a:gd name="connsiteX189" fmla="*/ 175108 w 4965220"/>
                <a:gd name="connsiteY189" fmla="*/ 197040 h 1281025"/>
                <a:gd name="connsiteX190" fmla="*/ 175108 w 4965220"/>
                <a:gd name="connsiteY190" fmla="*/ 155046 h 1281025"/>
                <a:gd name="connsiteX191" fmla="*/ 173212 w 4965220"/>
                <a:gd name="connsiteY191" fmla="*/ 149980 h 1281025"/>
                <a:gd name="connsiteX192" fmla="*/ 168710 w 4965220"/>
                <a:gd name="connsiteY192" fmla="*/ 147847 h 1281025"/>
                <a:gd name="connsiteX193" fmla="*/ 112552 w 4965220"/>
                <a:gd name="connsiteY193" fmla="*/ 147847 h 1281025"/>
                <a:gd name="connsiteX194" fmla="*/ 112552 w 4965220"/>
                <a:gd name="connsiteY194" fmla="*/ 105719 h 1281025"/>
                <a:gd name="connsiteX195" fmla="*/ 110657 w 4965220"/>
                <a:gd name="connsiteY195" fmla="*/ 100653 h 1281025"/>
                <a:gd name="connsiteX196" fmla="*/ 106155 w 4965220"/>
                <a:gd name="connsiteY196" fmla="*/ 98520 h 1281025"/>
                <a:gd name="connsiteX197" fmla="*/ 103193 w 4965220"/>
                <a:gd name="connsiteY197" fmla="*/ 98520 h 1281025"/>
                <a:gd name="connsiteX198" fmla="*/ 103193 w 4965220"/>
                <a:gd name="connsiteY198" fmla="*/ 105719 h 1281025"/>
                <a:gd name="connsiteX199" fmla="*/ 109591 w 4965220"/>
                <a:gd name="connsiteY199" fmla="*/ 105719 h 1281025"/>
                <a:gd name="connsiteX200" fmla="*/ 109591 w 4965220"/>
                <a:gd name="connsiteY200" fmla="*/ 56526 h 1281025"/>
                <a:gd name="connsiteX201" fmla="*/ 107695 w 4965220"/>
                <a:gd name="connsiteY201" fmla="*/ 51460 h 1281025"/>
                <a:gd name="connsiteX202" fmla="*/ 103193 w 4965220"/>
                <a:gd name="connsiteY202" fmla="*/ 49327 h 1281025"/>
                <a:gd name="connsiteX203" fmla="*/ 47035 w 4965220"/>
                <a:gd name="connsiteY203" fmla="*/ 49327 h 1281025"/>
                <a:gd name="connsiteX204" fmla="*/ 47035 w 4965220"/>
                <a:gd name="connsiteY204" fmla="*/ 7199 h 1281025"/>
                <a:gd name="connsiteX205" fmla="*/ 45139 w 4965220"/>
                <a:gd name="connsiteY205" fmla="*/ 2133 h 1281025"/>
                <a:gd name="connsiteX206" fmla="*/ 40637 w 4965220"/>
                <a:gd name="connsiteY206" fmla="*/ 0 h 1281025"/>
                <a:gd name="connsiteX207" fmla="*/ 0 w 4965220"/>
                <a:gd name="connsiteY207" fmla="*/ 0 h 1281025"/>
                <a:gd name="connsiteX208" fmla="*/ 0 w 4965220"/>
                <a:gd name="connsiteY208" fmla="*/ 14265 h 12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4965220" h="1281025">
                  <a:moveTo>
                    <a:pt x="0" y="14265"/>
                  </a:moveTo>
                  <a:lnTo>
                    <a:pt x="35424" y="14265"/>
                  </a:lnTo>
                  <a:lnTo>
                    <a:pt x="35424" y="56259"/>
                  </a:lnTo>
                  <a:cubicBezTo>
                    <a:pt x="35424" y="58125"/>
                    <a:pt x="36135" y="59992"/>
                    <a:pt x="37320" y="61325"/>
                  </a:cubicBezTo>
                  <a:cubicBezTo>
                    <a:pt x="38505" y="62658"/>
                    <a:pt x="40163" y="63458"/>
                    <a:pt x="41822" y="63458"/>
                  </a:cubicBezTo>
                  <a:lnTo>
                    <a:pt x="97980" y="63458"/>
                  </a:lnTo>
                  <a:lnTo>
                    <a:pt x="97980" y="105452"/>
                  </a:lnTo>
                  <a:cubicBezTo>
                    <a:pt x="97980" y="107319"/>
                    <a:pt x="98691" y="109185"/>
                    <a:pt x="99875" y="110518"/>
                  </a:cubicBezTo>
                  <a:cubicBezTo>
                    <a:pt x="101060" y="111851"/>
                    <a:pt x="102719" y="112651"/>
                    <a:pt x="104378" y="112651"/>
                  </a:cubicBezTo>
                  <a:lnTo>
                    <a:pt x="107339" y="112651"/>
                  </a:lnTo>
                  <a:lnTo>
                    <a:pt x="107339" y="105452"/>
                  </a:lnTo>
                  <a:lnTo>
                    <a:pt x="100942" y="105452"/>
                  </a:lnTo>
                  <a:lnTo>
                    <a:pt x="100942" y="154646"/>
                  </a:lnTo>
                  <a:cubicBezTo>
                    <a:pt x="100942" y="156512"/>
                    <a:pt x="101653" y="158378"/>
                    <a:pt x="102837" y="159712"/>
                  </a:cubicBezTo>
                  <a:cubicBezTo>
                    <a:pt x="104022" y="161045"/>
                    <a:pt x="105681" y="161845"/>
                    <a:pt x="107339" y="161845"/>
                  </a:cubicBezTo>
                  <a:lnTo>
                    <a:pt x="163497" y="161845"/>
                  </a:lnTo>
                  <a:lnTo>
                    <a:pt x="163497" y="203839"/>
                  </a:lnTo>
                  <a:cubicBezTo>
                    <a:pt x="163497" y="205705"/>
                    <a:pt x="164208" y="207572"/>
                    <a:pt x="165393" y="208905"/>
                  </a:cubicBezTo>
                  <a:cubicBezTo>
                    <a:pt x="166578" y="210238"/>
                    <a:pt x="168236" y="211038"/>
                    <a:pt x="169895" y="211038"/>
                  </a:cubicBezTo>
                  <a:lnTo>
                    <a:pt x="187429" y="211038"/>
                  </a:lnTo>
                  <a:lnTo>
                    <a:pt x="187429" y="253032"/>
                  </a:lnTo>
                  <a:cubicBezTo>
                    <a:pt x="187429" y="254899"/>
                    <a:pt x="188140" y="256765"/>
                    <a:pt x="189325" y="258098"/>
                  </a:cubicBezTo>
                  <a:cubicBezTo>
                    <a:pt x="190510" y="259431"/>
                    <a:pt x="192168" y="260231"/>
                    <a:pt x="193827" y="260231"/>
                  </a:cubicBezTo>
                  <a:lnTo>
                    <a:pt x="211243" y="260231"/>
                  </a:lnTo>
                  <a:lnTo>
                    <a:pt x="211243" y="302226"/>
                  </a:lnTo>
                  <a:cubicBezTo>
                    <a:pt x="211243" y="304092"/>
                    <a:pt x="211954" y="305958"/>
                    <a:pt x="213139" y="307291"/>
                  </a:cubicBezTo>
                  <a:cubicBezTo>
                    <a:pt x="214324" y="308625"/>
                    <a:pt x="215982" y="309425"/>
                    <a:pt x="217641" y="309425"/>
                  </a:cubicBezTo>
                  <a:lnTo>
                    <a:pt x="318464" y="309425"/>
                  </a:lnTo>
                  <a:lnTo>
                    <a:pt x="318464" y="351419"/>
                  </a:lnTo>
                  <a:cubicBezTo>
                    <a:pt x="318464" y="353285"/>
                    <a:pt x="319175" y="355152"/>
                    <a:pt x="320360" y="356485"/>
                  </a:cubicBezTo>
                  <a:cubicBezTo>
                    <a:pt x="321544" y="357818"/>
                    <a:pt x="323203" y="358618"/>
                    <a:pt x="324862" y="358618"/>
                  </a:cubicBezTo>
                  <a:lnTo>
                    <a:pt x="506012" y="358618"/>
                  </a:lnTo>
                  <a:lnTo>
                    <a:pt x="506012" y="401945"/>
                  </a:lnTo>
                  <a:cubicBezTo>
                    <a:pt x="506012" y="403812"/>
                    <a:pt x="506723" y="405678"/>
                    <a:pt x="507908" y="407011"/>
                  </a:cubicBezTo>
                  <a:cubicBezTo>
                    <a:pt x="509092" y="408344"/>
                    <a:pt x="510751" y="409144"/>
                    <a:pt x="512410" y="409144"/>
                  </a:cubicBezTo>
                  <a:lnTo>
                    <a:pt x="518334" y="409144"/>
                  </a:lnTo>
                  <a:lnTo>
                    <a:pt x="518334" y="401945"/>
                  </a:lnTo>
                  <a:lnTo>
                    <a:pt x="511936" y="401945"/>
                  </a:lnTo>
                  <a:lnTo>
                    <a:pt x="511936" y="452472"/>
                  </a:lnTo>
                  <a:cubicBezTo>
                    <a:pt x="511936" y="454338"/>
                    <a:pt x="512647" y="456205"/>
                    <a:pt x="513831" y="457538"/>
                  </a:cubicBezTo>
                  <a:cubicBezTo>
                    <a:pt x="515016" y="458871"/>
                    <a:pt x="516675" y="459671"/>
                    <a:pt x="518334" y="459671"/>
                  </a:cubicBezTo>
                  <a:lnTo>
                    <a:pt x="541792" y="459671"/>
                  </a:lnTo>
                  <a:lnTo>
                    <a:pt x="541792" y="502998"/>
                  </a:lnTo>
                  <a:cubicBezTo>
                    <a:pt x="541792" y="504865"/>
                    <a:pt x="542503" y="506731"/>
                    <a:pt x="543687" y="508064"/>
                  </a:cubicBezTo>
                  <a:cubicBezTo>
                    <a:pt x="544872" y="509397"/>
                    <a:pt x="546531" y="510197"/>
                    <a:pt x="548190" y="510197"/>
                  </a:cubicBezTo>
                  <a:lnTo>
                    <a:pt x="583495" y="510197"/>
                  </a:lnTo>
                  <a:lnTo>
                    <a:pt x="583495" y="553525"/>
                  </a:lnTo>
                  <a:cubicBezTo>
                    <a:pt x="583495" y="555391"/>
                    <a:pt x="584206" y="557257"/>
                    <a:pt x="585391" y="558591"/>
                  </a:cubicBezTo>
                  <a:cubicBezTo>
                    <a:pt x="586576" y="559924"/>
                    <a:pt x="588235" y="560724"/>
                    <a:pt x="589893" y="560724"/>
                  </a:cubicBezTo>
                  <a:lnTo>
                    <a:pt x="625199" y="560724"/>
                  </a:lnTo>
                  <a:lnTo>
                    <a:pt x="625199" y="604051"/>
                  </a:lnTo>
                  <a:cubicBezTo>
                    <a:pt x="625199" y="605918"/>
                    <a:pt x="625910" y="607784"/>
                    <a:pt x="627095" y="609117"/>
                  </a:cubicBezTo>
                  <a:cubicBezTo>
                    <a:pt x="628279" y="610450"/>
                    <a:pt x="629938" y="611250"/>
                    <a:pt x="631597" y="611250"/>
                  </a:cubicBezTo>
                  <a:lnTo>
                    <a:pt x="672827" y="611250"/>
                  </a:lnTo>
                  <a:lnTo>
                    <a:pt x="672827" y="654711"/>
                  </a:lnTo>
                  <a:cubicBezTo>
                    <a:pt x="672827" y="656577"/>
                    <a:pt x="673537" y="658444"/>
                    <a:pt x="674722" y="659777"/>
                  </a:cubicBezTo>
                  <a:cubicBezTo>
                    <a:pt x="675907" y="661110"/>
                    <a:pt x="677566" y="661910"/>
                    <a:pt x="679224" y="661910"/>
                  </a:cubicBezTo>
                  <a:lnTo>
                    <a:pt x="682186" y="661910"/>
                  </a:lnTo>
                  <a:lnTo>
                    <a:pt x="682186" y="654844"/>
                  </a:lnTo>
                  <a:lnTo>
                    <a:pt x="675788" y="654844"/>
                  </a:lnTo>
                  <a:lnTo>
                    <a:pt x="675788" y="705371"/>
                  </a:lnTo>
                  <a:cubicBezTo>
                    <a:pt x="675788" y="707237"/>
                    <a:pt x="676499" y="709103"/>
                    <a:pt x="677684" y="710437"/>
                  </a:cubicBezTo>
                  <a:cubicBezTo>
                    <a:pt x="678869" y="711770"/>
                    <a:pt x="680527" y="712570"/>
                    <a:pt x="682186" y="712570"/>
                  </a:cubicBezTo>
                  <a:lnTo>
                    <a:pt x="806823" y="712570"/>
                  </a:lnTo>
                  <a:lnTo>
                    <a:pt x="806823" y="806424"/>
                  </a:lnTo>
                  <a:cubicBezTo>
                    <a:pt x="806823" y="808290"/>
                    <a:pt x="807534" y="810156"/>
                    <a:pt x="808719" y="811489"/>
                  </a:cubicBezTo>
                  <a:cubicBezTo>
                    <a:pt x="809904" y="812823"/>
                    <a:pt x="811562" y="813623"/>
                    <a:pt x="813221" y="813623"/>
                  </a:cubicBezTo>
                  <a:lnTo>
                    <a:pt x="884307" y="813623"/>
                  </a:lnTo>
                  <a:lnTo>
                    <a:pt x="884307" y="856950"/>
                  </a:lnTo>
                  <a:cubicBezTo>
                    <a:pt x="884307" y="858816"/>
                    <a:pt x="885017" y="860683"/>
                    <a:pt x="886202" y="862016"/>
                  </a:cubicBezTo>
                  <a:cubicBezTo>
                    <a:pt x="887387" y="863349"/>
                    <a:pt x="889046" y="864149"/>
                    <a:pt x="890704" y="864149"/>
                  </a:cubicBezTo>
                  <a:lnTo>
                    <a:pt x="973638" y="864149"/>
                  </a:lnTo>
                  <a:lnTo>
                    <a:pt x="973638" y="907476"/>
                  </a:lnTo>
                  <a:cubicBezTo>
                    <a:pt x="973638" y="909343"/>
                    <a:pt x="974349" y="911209"/>
                    <a:pt x="975533" y="912542"/>
                  </a:cubicBezTo>
                  <a:cubicBezTo>
                    <a:pt x="976718" y="913876"/>
                    <a:pt x="978377" y="914675"/>
                    <a:pt x="980035" y="914675"/>
                  </a:cubicBezTo>
                  <a:lnTo>
                    <a:pt x="1036193" y="914675"/>
                  </a:lnTo>
                  <a:lnTo>
                    <a:pt x="1036193" y="958003"/>
                  </a:lnTo>
                  <a:cubicBezTo>
                    <a:pt x="1036193" y="959869"/>
                    <a:pt x="1036904" y="961736"/>
                    <a:pt x="1038089" y="963069"/>
                  </a:cubicBezTo>
                  <a:cubicBezTo>
                    <a:pt x="1039274" y="964402"/>
                    <a:pt x="1040932" y="965202"/>
                    <a:pt x="1042591" y="965202"/>
                  </a:cubicBezTo>
                  <a:lnTo>
                    <a:pt x="1286296" y="965202"/>
                  </a:lnTo>
                  <a:lnTo>
                    <a:pt x="1286296" y="1010662"/>
                  </a:lnTo>
                  <a:cubicBezTo>
                    <a:pt x="1286296" y="1012529"/>
                    <a:pt x="1287007" y="1014395"/>
                    <a:pt x="1288192" y="1015728"/>
                  </a:cubicBezTo>
                  <a:cubicBezTo>
                    <a:pt x="1289377" y="1017061"/>
                    <a:pt x="1291036" y="1017861"/>
                    <a:pt x="1292694" y="1017861"/>
                  </a:cubicBezTo>
                  <a:lnTo>
                    <a:pt x="1622651" y="1017861"/>
                  </a:lnTo>
                  <a:lnTo>
                    <a:pt x="1622651" y="1063322"/>
                  </a:lnTo>
                  <a:cubicBezTo>
                    <a:pt x="1622651" y="1065188"/>
                    <a:pt x="1623361" y="1067055"/>
                    <a:pt x="1624546" y="1068388"/>
                  </a:cubicBezTo>
                  <a:cubicBezTo>
                    <a:pt x="1625731" y="1069721"/>
                    <a:pt x="1627390" y="1070521"/>
                    <a:pt x="1629048" y="1070521"/>
                  </a:cubicBezTo>
                  <a:lnTo>
                    <a:pt x="1637579" y="1070521"/>
                  </a:lnTo>
                  <a:lnTo>
                    <a:pt x="1637579" y="1115981"/>
                  </a:lnTo>
                  <a:cubicBezTo>
                    <a:pt x="1637579" y="1117848"/>
                    <a:pt x="1638289" y="1119714"/>
                    <a:pt x="1639474" y="1121047"/>
                  </a:cubicBezTo>
                  <a:cubicBezTo>
                    <a:pt x="1640659" y="1122381"/>
                    <a:pt x="1642317" y="1123180"/>
                    <a:pt x="1643976" y="1123180"/>
                  </a:cubicBezTo>
                  <a:lnTo>
                    <a:pt x="1661511" y="1123180"/>
                  </a:lnTo>
                  <a:lnTo>
                    <a:pt x="1661511" y="1168508"/>
                  </a:lnTo>
                  <a:cubicBezTo>
                    <a:pt x="1661511" y="1170374"/>
                    <a:pt x="1662222" y="1172240"/>
                    <a:pt x="1663406" y="1173574"/>
                  </a:cubicBezTo>
                  <a:cubicBezTo>
                    <a:pt x="1664591" y="1174907"/>
                    <a:pt x="1666250" y="1175707"/>
                    <a:pt x="1667908" y="1175707"/>
                  </a:cubicBezTo>
                  <a:lnTo>
                    <a:pt x="1679401" y="1175707"/>
                  </a:lnTo>
                  <a:lnTo>
                    <a:pt x="1679401" y="1221167"/>
                  </a:lnTo>
                  <a:cubicBezTo>
                    <a:pt x="1679401" y="1223033"/>
                    <a:pt x="1680111" y="1224900"/>
                    <a:pt x="1681296" y="1226233"/>
                  </a:cubicBezTo>
                  <a:cubicBezTo>
                    <a:pt x="1682481" y="1227566"/>
                    <a:pt x="1684140" y="1228366"/>
                    <a:pt x="1685798" y="1228366"/>
                  </a:cubicBezTo>
                  <a:lnTo>
                    <a:pt x="1863987" y="1228366"/>
                  </a:lnTo>
                  <a:lnTo>
                    <a:pt x="1863987" y="1273827"/>
                  </a:lnTo>
                  <a:cubicBezTo>
                    <a:pt x="1863987" y="1275693"/>
                    <a:pt x="1864697" y="1277559"/>
                    <a:pt x="1865882" y="1278893"/>
                  </a:cubicBezTo>
                  <a:cubicBezTo>
                    <a:pt x="1867067" y="1280226"/>
                    <a:pt x="1868726" y="1281026"/>
                    <a:pt x="1870384" y="1281026"/>
                  </a:cubicBezTo>
                  <a:lnTo>
                    <a:pt x="4965220" y="1281026"/>
                  </a:lnTo>
                  <a:lnTo>
                    <a:pt x="4965220" y="1266761"/>
                  </a:lnTo>
                  <a:lnTo>
                    <a:pt x="1875597" y="1266761"/>
                  </a:lnTo>
                  <a:lnTo>
                    <a:pt x="1875597" y="1221300"/>
                  </a:lnTo>
                  <a:cubicBezTo>
                    <a:pt x="1875597" y="1219434"/>
                    <a:pt x="1874886" y="1217568"/>
                    <a:pt x="1873702" y="1216234"/>
                  </a:cubicBezTo>
                  <a:cubicBezTo>
                    <a:pt x="1872517" y="1214901"/>
                    <a:pt x="1870858" y="1214101"/>
                    <a:pt x="1869200" y="1214101"/>
                  </a:cubicBezTo>
                  <a:lnTo>
                    <a:pt x="1691011" y="1214101"/>
                  </a:lnTo>
                  <a:lnTo>
                    <a:pt x="1691011" y="1168641"/>
                  </a:lnTo>
                  <a:cubicBezTo>
                    <a:pt x="1691011" y="1166774"/>
                    <a:pt x="1690300" y="1164908"/>
                    <a:pt x="1689116" y="1163575"/>
                  </a:cubicBezTo>
                  <a:cubicBezTo>
                    <a:pt x="1687931" y="1162242"/>
                    <a:pt x="1686272" y="1161442"/>
                    <a:pt x="1684614" y="1161442"/>
                  </a:cubicBezTo>
                  <a:lnTo>
                    <a:pt x="1673121" y="1161442"/>
                  </a:lnTo>
                  <a:lnTo>
                    <a:pt x="1673121" y="1116115"/>
                  </a:lnTo>
                  <a:cubicBezTo>
                    <a:pt x="1673121" y="1114248"/>
                    <a:pt x="1672411" y="1112382"/>
                    <a:pt x="1671226" y="1111049"/>
                  </a:cubicBezTo>
                  <a:cubicBezTo>
                    <a:pt x="1670041" y="1109716"/>
                    <a:pt x="1668382" y="1108916"/>
                    <a:pt x="1666724" y="1108916"/>
                  </a:cubicBezTo>
                  <a:lnTo>
                    <a:pt x="1649189" y="1108916"/>
                  </a:lnTo>
                  <a:lnTo>
                    <a:pt x="1649189" y="1063455"/>
                  </a:lnTo>
                  <a:cubicBezTo>
                    <a:pt x="1649189" y="1061589"/>
                    <a:pt x="1648478" y="1059722"/>
                    <a:pt x="1647293" y="1058389"/>
                  </a:cubicBezTo>
                  <a:cubicBezTo>
                    <a:pt x="1646109" y="1057056"/>
                    <a:pt x="1644450" y="1056256"/>
                    <a:pt x="1642791" y="1056256"/>
                  </a:cubicBezTo>
                  <a:lnTo>
                    <a:pt x="1634261" y="1056256"/>
                  </a:lnTo>
                  <a:lnTo>
                    <a:pt x="1634261" y="1010796"/>
                  </a:lnTo>
                  <a:cubicBezTo>
                    <a:pt x="1634261" y="1008929"/>
                    <a:pt x="1633550" y="1007063"/>
                    <a:pt x="1632366" y="1005730"/>
                  </a:cubicBezTo>
                  <a:cubicBezTo>
                    <a:pt x="1631181" y="1004396"/>
                    <a:pt x="1629522" y="1003597"/>
                    <a:pt x="1627863" y="1003597"/>
                  </a:cubicBezTo>
                  <a:lnTo>
                    <a:pt x="1297907" y="1003597"/>
                  </a:lnTo>
                  <a:lnTo>
                    <a:pt x="1297907" y="958136"/>
                  </a:lnTo>
                  <a:cubicBezTo>
                    <a:pt x="1297907" y="956270"/>
                    <a:pt x="1297196" y="954403"/>
                    <a:pt x="1296012" y="953070"/>
                  </a:cubicBezTo>
                  <a:cubicBezTo>
                    <a:pt x="1294827" y="951737"/>
                    <a:pt x="1293168" y="950937"/>
                    <a:pt x="1291509" y="950937"/>
                  </a:cubicBezTo>
                  <a:lnTo>
                    <a:pt x="1047804" y="950937"/>
                  </a:lnTo>
                  <a:lnTo>
                    <a:pt x="1047804" y="907610"/>
                  </a:lnTo>
                  <a:cubicBezTo>
                    <a:pt x="1047804" y="905743"/>
                    <a:pt x="1047093" y="903877"/>
                    <a:pt x="1045908" y="902544"/>
                  </a:cubicBezTo>
                  <a:cubicBezTo>
                    <a:pt x="1044723" y="901211"/>
                    <a:pt x="1043065" y="900411"/>
                    <a:pt x="1041406" y="900411"/>
                  </a:cubicBezTo>
                  <a:lnTo>
                    <a:pt x="985248" y="900411"/>
                  </a:lnTo>
                  <a:lnTo>
                    <a:pt x="985248" y="857083"/>
                  </a:lnTo>
                  <a:cubicBezTo>
                    <a:pt x="985248" y="855217"/>
                    <a:pt x="984537" y="853350"/>
                    <a:pt x="983353" y="852017"/>
                  </a:cubicBezTo>
                  <a:cubicBezTo>
                    <a:pt x="982168" y="850684"/>
                    <a:pt x="980509" y="849884"/>
                    <a:pt x="978851" y="849884"/>
                  </a:cubicBezTo>
                  <a:lnTo>
                    <a:pt x="895917" y="849884"/>
                  </a:lnTo>
                  <a:lnTo>
                    <a:pt x="895917" y="806557"/>
                  </a:lnTo>
                  <a:cubicBezTo>
                    <a:pt x="895917" y="804690"/>
                    <a:pt x="895206" y="802824"/>
                    <a:pt x="894022" y="801491"/>
                  </a:cubicBezTo>
                  <a:cubicBezTo>
                    <a:pt x="892837" y="800158"/>
                    <a:pt x="891178" y="799358"/>
                    <a:pt x="889520" y="799358"/>
                  </a:cubicBezTo>
                  <a:lnTo>
                    <a:pt x="818434" y="799358"/>
                  </a:lnTo>
                  <a:lnTo>
                    <a:pt x="818434" y="705504"/>
                  </a:lnTo>
                  <a:cubicBezTo>
                    <a:pt x="818434" y="703637"/>
                    <a:pt x="817723" y="701771"/>
                    <a:pt x="816538" y="700438"/>
                  </a:cubicBezTo>
                  <a:cubicBezTo>
                    <a:pt x="815353" y="699105"/>
                    <a:pt x="813695" y="698305"/>
                    <a:pt x="812036" y="698305"/>
                  </a:cubicBezTo>
                  <a:lnTo>
                    <a:pt x="687399" y="698305"/>
                  </a:lnTo>
                  <a:lnTo>
                    <a:pt x="687399" y="654977"/>
                  </a:lnTo>
                  <a:cubicBezTo>
                    <a:pt x="687399" y="653111"/>
                    <a:pt x="686688" y="651245"/>
                    <a:pt x="685504" y="649911"/>
                  </a:cubicBezTo>
                  <a:cubicBezTo>
                    <a:pt x="684319" y="648578"/>
                    <a:pt x="682660" y="647778"/>
                    <a:pt x="681001" y="647778"/>
                  </a:cubicBezTo>
                  <a:lnTo>
                    <a:pt x="678039" y="647778"/>
                  </a:lnTo>
                  <a:lnTo>
                    <a:pt x="678039" y="654977"/>
                  </a:lnTo>
                  <a:lnTo>
                    <a:pt x="684437" y="654977"/>
                  </a:lnTo>
                  <a:lnTo>
                    <a:pt x="684437" y="604451"/>
                  </a:lnTo>
                  <a:cubicBezTo>
                    <a:pt x="684437" y="602585"/>
                    <a:pt x="683726" y="600718"/>
                    <a:pt x="682542" y="599385"/>
                  </a:cubicBezTo>
                  <a:cubicBezTo>
                    <a:pt x="681357" y="598052"/>
                    <a:pt x="679698" y="597252"/>
                    <a:pt x="678039" y="597252"/>
                  </a:cubicBezTo>
                  <a:lnTo>
                    <a:pt x="636810" y="597252"/>
                  </a:lnTo>
                  <a:lnTo>
                    <a:pt x="636810" y="553925"/>
                  </a:lnTo>
                  <a:cubicBezTo>
                    <a:pt x="636810" y="552058"/>
                    <a:pt x="636099" y="550192"/>
                    <a:pt x="634914" y="548859"/>
                  </a:cubicBezTo>
                  <a:cubicBezTo>
                    <a:pt x="633729" y="547525"/>
                    <a:pt x="632071" y="546726"/>
                    <a:pt x="630412" y="546726"/>
                  </a:cubicBezTo>
                  <a:lnTo>
                    <a:pt x="595106" y="546726"/>
                  </a:lnTo>
                  <a:lnTo>
                    <a:pt x="595106" y="503398"/>
                  </a:lnTo>
                  <a:cubicBezTo>
                    <a:pt x="595106" y="501532"/>
                    <a:pt x="594395" y="499665"/>
                    <a:pt x="593211" y="498332"/>
                  </a:cubicBezTo>
                  <a:cubicBezTo>
                    <a:pt x="592026" y="496999"/>
                    <a:pt x="590367" y="496199"/>
                    <a:pt x="588708" y="496199"/>
                  </a:cubicBezTo>
                  <a:lnTo>
                    <a:pt x="553402" y="496199"/>
                  </a:lnTo>
                  <a:lnTo>
                    <a:pt x="553402" y="452872"/>
                  </a:lnTo>
                  <a:cubicBezTo>
                    <a:pt x="553402" y="451005"/>
                    <a:pt x="552692" y="449139"/>
                    <a:pt x="551507" y="447806"/>
                  </a:cubicBezTo>
                  <a:cubicBezTo>
                    <a:pt x="550322" y="446473"/>
                    <a:pt x="548663" y="445673"/>
                    <a:pt x="547005" y="445673"/>
                  </a:cubicBezTo>
                  <a:lnTo>
                    <a:pt x="523546" y="445673"/>
                  </a:lnTo>
                  <a:lnTo>
                    <a:pt x="523546" y="402345"/>
                  </a:lnTo>
                  <a:cubicBezTo>
                    <a:pt x="523546" y="400479"/>
                    <a:pt x="522836" y="398612"/>
                    <a:pt x="521651" y="397279"/>
                  </a:cubicBezTo>
                  <a:cubicBezTo>
                    <a:pt x="520466" y="395946"/>
                    <a:pt x="518807" y="395146"/>
                    <a:pt x="517149" y="395146"/>
                  </a:cubicBezTo>
                  <a:lnTo>
                    <a:pt x="511225" y="395146"/>
                  </a:lnTo>
                  <a:lnTo>
                    <a:pt x="511225" y="402345"/>
                  </a:lnTo>
                  <a:lnTo>
                    <a:pt x="517623" y="402345"/>
                  </a:lnTo>
                  <a:lnTo>
                    <a:pt x="517623" y="351819"/>
                  </a:lnTo>
                  <a:cubicBezTo>
                    <a:pt x="517623" y="349952"/>
                    <a:pt x="516912" y="348086"/>
                    <a:pt x="515727" y="346753"/>
                  </a:cubicBezTo>
                  <a:cubicBezTo>
                    <a:pt x="514542" y="345420"/>
                    <a:pt x="512884" y="344620"/>
                    <a:pt x="511225" y="344620"/>
                  </a:cubicBezTo>
                  <a:lnTo>
                    <a:pt x="330075" y="344620"/>
                  </a:lnTo>
                  <a:lnTo>
                    <a:pt x="330075" y="302625"/>
                  </a:lnTo>
                  <a:cubicBezTo>
                    <a:pt x="330075" y="300759"/>
                    <a:pt x="329364" y="298893"/>
                    <a:pt x="328179" y="297559"/>
                  </a:cubicBezTo>
                  <a:cubicBezTo>
                    <a:pt x="326994" y="296226"/>
                    <a:pt x="325336" y="295426"/>
                    <a:pt x="323677" y="295426"/>
                  </a:cubicBezTo>
                  <a:lnTo>
                    <a:pt x="222854" y="295426"/>
                  </a:lnTo>
                  <a:lnTo>
                    <a:pt x="222854" y="253432"/>
                  </a:lnTo>
                  <a:cubicBezTo>
                    <a:pt x="222854" y="251566"/>
                    <a:pt x="222143" y="249699"/>
                    <a:pt x="220958" y="248366"/>
                  </a:cubicBezTo>
                  <a:cubicBezTo>
                    <a:pt x="219773" y="247033"/>
                    <a:pt x="218115" y="246233"/>
                    <a:pt x="216456" y="246233"/>
                  </a:cubicBezTo>
                  <a:lnTo>
                    <a:pt x="199040" y="246233"/>
                  </a:lnTo>
                  <a:lnTo>
                    <a:pt x="199040" y="204239"/>
                  </a:lnTo>
                  <a:cubicBezTo>
                    <a:pt x="199040" y="202372"/>
                    <a:pt x="198329" y="200506"/>
                    <a:pt x="197144" y="199173"/>
                  </a:cubicBezTo>
                  <a:cubicBezTo>
                    <a:pt x="195960" y="197840"/>
                    <a:pt x="194301" y="197040"/>
                    <a:pt x="192642" y="197040"/>
                  </a:cubicBezTo>
                  <a:lnTo>
                    <a:pt x="175108" y="197040"/>
                  </a:lnTo>
                  <a:lnTo>
                    <a:pt x="175108" y="155046"/>
                  </a:lnTo>
                  <a:cubicBezTo>
                    <a:pt x="175108" y="153179"/>
                    <a:pt x="174397" y="151313"/>
                    <a:pt x="173212" y="149980"/>
                  </a:cubicBezTo>
                  <a:cubicBezTo>
                    <a:pt x="172027" y="148646"/>
                    <a:pt x="170369" y="147847"/>
                    <a:pt x="168710" y="147847"/>
                  </a:cubicBezTo>
                  <a:lnTo>
                    <a:pt x="112552" y="147847"/>
                  </a:lnTo>
                  <a:lnTo>
                    <a:pt x="112552" y="105719"/>
                  </a:lnTo>
                  <a:cubicBezTo>
                    <a:pt x="112552" y="103853"/>
                    <a:pt x="111842" y="101986"/>
                    <a:pt x="110657" y="100653"/>
                  </a:cubicBezTo>
                  <a:cubicBezTo>
                    <a:pt x="109472" y="99320"/>
                    <a:pt x="107813" y="98520"/>
                    <a:pt x="106155" y="98520"/>
                  </a:cubicBezTo>
                  <a:lnTo>
                    <a:pt x="103193" y="98520"/>
                  </a:lnTo>
                  <a:lnTo>
                    <a:pt x="103193" y="105719"/>
                  </a:lnTo>
                  <a:lnTo>
                    <a:pt x="109591" y="105719"/>
                  </a:lnTo>
                  <a:lnTo>
                    <a:pt x="109591" y="56526"/>
                  </a:lnTo>
                  <a:cubicBezTo>
                    <a:pt x="109591" y="54659"/>
                    <a:pt x="108880" y="52793"/>
                    <a:pt x="107695" y="51460"/>
                  </a:cubicBezTo>
                  <a:cubicBezTo>
                    <a:pt x="106510" y="50127"/>
                    <a:pt x="104851" y="49327"/>
                    <a:pt x="103193" y="49327"/>
                  </a:cubicBezTo>
                  <a:lnTo>
                    <a:pt x="47035" y="49327"/>
                  </a:lnTo>
                  <a:lnTo>
                    <a:pt x="47035" y="7199"/>
                  </a:lnTo>
                  <a:cubicBezTo>
                    <a:pt x="47035" y="5333"/>
                    <a:pt x="46324" y="3466"/>
                    <a:pt x="45139" y="2133"/>
                  </a:cubicBezTo>
                  <a:cubicBezTo>
                    <a:pt x="43955" y="800"/>
                    <a:pt x="42296" y="0"/>
                    <a:pt x="40637" y="0"/>
                  </a:cubicBezTo>
                  <a:lnTo>
                    <a:pt x="0" y="0"/>
                  </a:lnTo>
                  <a:lnTo>
                    <a:pt x="0" y="14265"/>
                  </a:lnTo>
                </a:path>
              </a:pathLst>
            </a:custGeom>
            <a:solidFill>
              <a:schemeClr val="accent2"/>
            </a:solidFill>
            <a:ln w="11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8748E2AF-74E2-8BB5-C750-D5FE1DCE42E5}"/>
                </a:ext>
              </a:extLst>
            </p:cNvPr>
            <p:cNvSpPr/>
            <p:nvPr/>
          </p:nvSpPr>
          <p:spPr>
            <a:xfrm>
              <a:off x="2257055" y="1445953"/>
              <a:ext cx="4962613" cy="1057056"/>
            </a:xfrm>
            <a:custGeom>
              <a:avLst/>
              <a:gdLst>
                <a:gd name="connsiteX0" fmla="*/ 0 w 4962613"/>
                <a:gd name="connsiteY0" fmla="*/ 14265 h 1057056"/>
                <a:gd name="connsiteX1" fmla="*/ 237782 w 4962613"/>
                <a:gd name="connsiteY1" fmla="*/ 14265 h 1057056"/>
                <a:gd name="connsiteX2" fmla="*/ 237782 w 4962613"/>
                <a:gd name="connsiteY2" fmla="*/ 78523 h 1057056"/>
                <a:gd name="connsiteX3" fmla="*/ 239677 w 4962613"/>
                <a:gd name="connsiteY3" fmla="*/ 83589 h 1057056"/>
                <a:gd name="connsiteX4" fmla="*/ 244180 w 4962613"/>
                <a:gd name="connsiteY4" fmla="*/ 85722 h 1057056"/>
                <a:gd name="connsiteX5" fmla="*/ 758722 w 4962613"/>
                <a:gd name="connsiteY5" fmla="*/ 85722 h 1057056"/>
                <a:gd name="connsiteX6" fmla="*/ 758722 w 4962613"/>
                <a:gd name="connsiteY6" fmla="*/ 149980 h 1057056"/>
                <a:gd name="connsiteX7" fmla="*/ 760617 w 4962613"/>
                <a:gd name="connsiteY7" fmla="*/ 155046 h 1057056"/>
                <a:gd name="connsiteX8" fmla="*/ 765120 w 4962613"/>
                <a:gd name="connsiteY8" fmla="*/ 157179 h 1057056"/>
                <a:gd name="connsiteX9" fmla="*/ 851133 w 4962613"/>
                <a:gd name="connsiteY9" fmla="*/ 157179 h 1057056"/>
                <a:gd name="connsiteX10" fmla="*/ 851133 w 4962613"/>
                <a:gd name="connsiteY10" fmla="*/ 221437 h 1057056"/>
                <a:gd name="connsiteX11" fmla="*/ 853029 w 4962613"/>
                <a:gd name="connsiteY11" fmla="*/ 226502 h 1057056"/>
                <a:gd name="connsiteX12" fmla="*/ 857531 w 4962613"/>
                <a:gd name="connsiteY12" fmla="*/ 228636 h 1057056"/>
                <a:gd name="connsiteX13" fmla="*/ 976126 w 4962613"/>
                <a:gd name="connsiteY13" fmla="*/ 228636 h 1057056"/>
                <a:gd name="connsiteX14" fmla="*/ 976126 w 4962613"/>
                <a:gd name="connsiteY14" fmla="*/ 292893 h 1057056"/>
                <a:gd name="connsiteX15" fmla="*/ 978021 w 4962613"/>
                <a:gd name="connsiteY15" fmla="*/ 297959 h 1057056"/>
                <a:gd name="connsiteX16" fmla="*/ 982523 w 4962613"/>
                <a:gd name="connsiteY16" fmla="*/ 300092 h 1057056"/>
                <a:gd name="connsiteX17" fmla="*/ 1238077 w 4962613"/>
                <a:gd name="connsiteY17" fmla="*/ 300092 h 1057056"/>
                <a:gd name="connsiteX18" fmla="*/ 1238077 w 4962613"/>
                <a:gd name="connsiteY18" fmla="*/ 367017 h 1057056"/>
                <a:gd name="connsiteX19" fmla="*/ 1239972 w 4962613"/>
                <a:gd name="connsiteY19" fmla="*/ 372083 h 1057056"/>
                <a:gd name="connsiteX20" fmla="*/ 1244474 w 4962613"/>
                <a:gd name="connsiteY20" fmla="*/ 374216 h 1057056"/>
                <a:gd name="connsiteX21" fmla="*/ 1467328 w 4962613"/>
                <a:gd name="connsiteY21" fmla="*/ 374216 h 1057056"/>
                <a:gd name="connsiteX22" fmla="*/ 1467328 w 4962613"/>
                <a:gd name="connsiteY22" fmla="*/ 441140 h 1057056"/>
                <a:gd name="connsiteX23" fmla="*/ 1469224 w 4962613"/>
                <a:gd name="connsiteY23" fmla="*/ 446206 h 1057056"/>
                <a:gd name="connsiteX24" fmla="*/ 1473726 w 4962613"/>
                <a:gd name="connsiteY24" fmla="*/ 448339 h 1057056"/>
                <a:gd name="connsiteX25" fmla="*/ 1491260 w 4962613"/>
                <a:gd name="connsiteY25" fmla="*/ 448339 h 1057056"/>
                <a:gd name="connsiteX26" fmla="*/ 1491260 w 4962613"/>
                <a:gd name="connsiteY26" fmla="*/ 589386 h 1057056"/>
                <a:gd name="connsiteX27" fmla="*/ 1493156 w 4962613"/>
                <a:gd name="connsiteY27" fmla="*/ 594452 h 1057056"/>
                <a:gd name="connsiteX28" fmla="*/ 1497658 w 4962613"/>
                <a:gd name="connsiteY28" fmla="*/ 596585 h 1057056"/>
                <a:gd name="connsiteX29" fmla="*/ 1562701 w 4962613"/>
                <a:gd name="connsiteY29" fmla="*/ 596585 h 1057056"/>
                <a:gd name="connsiteX30" fmla="*/ 1562701 w 4962613"/>
                <a:gd name="connsiteY30" fmla="*/ 663510 h 1057056"/>
                <a:gd name="connsiteX31" fmla="*/ 1564597 w 4962613"/>
                <a:gd name="connsiteY31" fmla="*/ 668576 h 1057056"/>
                <a:gd name="connsiteX32" fmla="*/ 1569099 w 4962613"/>
                <a:gd name="connsiteY32" fmla="*/ 670709 h 1057056"/>
                <a:gd name="connsiteX33" fmla="*/ 2214676 w 4962613"/>
                <a:gd name="connsiteY33" fmla="*/ 670709 h 1057056"/>
                <a:gd name="connsiteX34" fmla="*/ 2214676 w 4962613"/>
                <a:gd name="connsiteY34" fmla="*/ 737633 h 1057056"/>
                <a:gd name="connsiteX35" fmla="*/ 2216572 w 4962613"/>
                <a:gd name="connsiteY35" fmla="*/ 742699 h 1057056"/>
                <a:gd name="connsiteX36" fmla="*/ 2221074 w 4962613"/>
                <a:gd name="connsiteY36" fmla="*/ 744832 h 1057056"/>
                <a:gd name="connsiteX37" fmla="*/ 2824947 w 4962613"/>
                <a:gd name="connsiteY37" fmla="*/ 744832 h 1057056"/>
                <a:gd name="connsiteX38" fmla="*/ 2824947 w 4962613"/>
                <a:gd name="connsiteY38" fmla="*/ 815756 h 1057056"/>
                <a:gd name="connsiteX39" fmla="*/ 2826843 w 4962613"/>
                <a:gd name="connsiteY39" fmla="*/ 820822 h 1057056"/>
                <a:gd name="connsiteX40" fmla="*/ 2831345 w 4962613"/>
                <a:gd name="connsiteY40" fmla="*/ 822955 h 1057056"/>
                <a:gd name="connsiteX41" fmla="*/ 3033347 w 4962613"/>
                <a:gd name="connsiteY41" fmla="*/ 822955 h 1057056"/>
                <a:gd name="connsiteX42" fmla="*/ 3033347 w 4962613"/>
                <a:gd name="connsiteY42" fmla="*/ 893745 h 1057056"/>
                <a:gd name="connsiteX43" fmla="*/ 3035243 w 4962613"/>
                <a:gd name="connsiteY43" fmla="*/ 898811 h 1057056"/>
                <a:gd name="connsiteX44" fmla="*/ 3039745 w 4962613"/>
                <a:gd name="connsiteY44" fmla="*/ 900944 h 1057056"/>
                <a:gd name="connsiteX45" fmla="*/ 3078012 w 4962613"/>
                <a:gd name="connsiteY45" fmla="*/ 900944 h 1057056"/>
                <a:gd name="connsiteX46" fmla="*/ 3078012 w 4962613"/>
                <a:gd name="connsiteY46" fmla="*/ 971868 h 1057056"/>
                <a:gd name="connsiteX47" fmla="*/ 3079908 w 4962613"/>
                <a:gd name="connsiteY47" fmla="*/ 976934 h 1057056"/>
                <a:gd name="connsiteX48" fmla="*/ 3084410 w 4962613"/>
                <a:gd name="connsiteY48" fmla="*/ 979067 h 1057056"/>
                <a:gd name="connsiteX49" fmla="*/ 3262599 w 4962613"/>
                <a:gd name="connsiteY49" fmla="*/ 979067 h 1057056"/>
                <a:gd name="connsiteX50" fmla="*/ 3262599 w 4962613"/>
                <a:gd name="connsiteY50" fmla="*/ 1049857 h 1057056"/>
                <a:gd name="connsiteX51" fmla="*/ 3264494 w 4962613"/>
                <a:gd name="connsiteY51" fmla="*/ 1054923 h 1057056"/>
                <a:gd name="connsiteX52" fmla="*/ 3268996 w 4962613"/>
                <a:gd name="connsiteY52" fmla="*/ 1057056 h 1057056"/>
                <a:gd name="connsiteX53" fmla="*/ 4962614 w 4962613"/>
                <a:gd name="connsiteY53" fmla="*/ 1057056 h 1057056"/>
                <a:gd name="connsiteX54" fmla="*/ 4962614 w 4962613"/>
                <a:gd name="connsiteY54" fmla="*/ 1042791 h 1057056"/>
                <a:gd name="connsiteX55" fmla="*/ 3275276 w 4962613"/>
                <a:gd name="connsiteY55" fmla="*/ 1042791 h 1057056"/>
                <a:gd name="connsiteX56" fmla="*/ 3275276 w 4962613"/>
                <a:gd name="connsiteY56" fmla="*/ 972001 h 1057056"/>
                <a:gd name="connsiteX57" fmla="*/ 3273380 w 4962613"/>
                <a:gd name="connsiteY57" fmla="*/ 966935 h 1057056"/>
                <a:gd name="connsiteX58" fmla="*/ 3268878 w 4962613"/>
                <a:gd name="connsiteY58" fmla="*/ 964802 h 1057056"/>
                <a:gd name="connsiteX59" fmla="*/ 3090689 w 4962613"/>
                <a:gd name="connsiteY59" fmla="*/ 964802 h 1057056"/>
                <a:gd name="connsiteX60" fmla="*/ 3090689 w 4962613"/>
                <a:gd name="connsiteY60" fmla="*/ 893878 h 1057056"/>
                <a:gd name="connsiteX61" fmla="*/ 3088794 w 4962613"/>
                <a:gd name="connsiteY61" fmla="*/ 888812 h 1057056"/>
                <a:gd name="connsiteX62" fmla="*/ 3084292 w 4962613"/>
                <a:gd name="connsiteY62" fmla="*/ 886679 h 1057056"/>
                <a:gd name="connsiteX63" fmla="*/ 3046024 w 4962613"/>
                <a:gd name="connsiteY63" fmla="*/ 886679 h 1057056"/>
                <a:gd name="connsiteX64" fmla="*/ 3046024 w 4962613"/>
                <a:gd name="connsiteY64" fmla="*/ 815889 h 1057056"/>
                <a:gd name="connsiteX65" fmla="*/ 3044128 w 4962613"/>
                <a:gd name="connsiteY65" fmla="*/ 810823 h 1057056"/>
                <a:gd name="connsiteX66" fmla="*/ 3039626 w 4962613"/>
                <a:gd name="connsiteY66" fmla="*/ 808690 h 1057056"/>
                <a:gd name="connsiteX67" fmla="*/ 2837624 w 4962613"/>
                <a:gd name="connsiteY67" fmla="*/ 808690 h 1057056"/>
                <a:gd name="connsiteX68" fmla="*/ 2837624 w 4962613"/>
                <a:gd name="connsiteY68" fmla="*/ 737766 h 1057056"/>
                <a:gd name="connsiteX69" fmla="*/ 2835729 w 4962613"/>
                <a:gd name="connsiteY69" fmla="*/ 732700 h 1057056"/>
                <a:gd name="connsiteX70" fmla="*/ 2831227 w 4962613"/>
                <a:gd name="connsiteY70" fmla="*/ 730567 h 1057056"/>
                <a:gd name="connsiteX71" fmla="*/ 2227353 w 4962613"/>
                <a:gd name="connsiteY71" fmla="*/ 730567 h 1057056"/>
                <a:gd name="connsiteX72" fmla="*/ 2227353 w 4962613"/>
                <a:gd name="connsiteY72" fmla="*/ 663643 h 1057056"/>
                <a:gd name="connsiteX73" fmla="*/ 2225458 w 4962613"/>
                <a:gd name="connsiteY73" fmla="*/ 658577 h 1057056"/>
                <a:gd name="connsiteX74" fmla="*/ 2220956 w 4962613"/>
                <a:gd name="connsiteY74" fmla="*/ 656444 h 1057056"/>
                <a:gd name="connsiteX75" fmla="*/ 1575378 w 4962613"/>
                <a:gd name="connsiteY75" fmla="*/ 656444 h 1057056"/>
                <a:gd name="connsiteX76" fmla="*/ 1575378 w 4962613"/>
                <a:gd name="connsiteY76" fmla="*/ 589386 h 1057056"/>
                <a:gd name="connsiteX77" fmla="*/ 1573483 w 4962613"/>
                <a:gd name="connsiteY77" fmla="*/ 584320 h 1057056"/>
                <a:gd name="connsiteX78" fmla="*/ 1568981 w 4962613"/>
                <a:gd name="connsiteY78" fmla="*/ 582187 h 1057056"/>
                <a:gd name="connsiteX79" fmla="*/ 1503937 w 4962613"/>
                <a:gd name="connsiteY79" fmla="*/ 582187 h 1057056"/>
                <a:gd name="connsiteX80" fmla="*/ 1503937 w 4962613"/>
                <a:gd name="connsiteY80" fmla="*/ 441007 h 1057056"/>
                <a:gd name="connsiteX81" fmla="*/ 1502042 w 4962613"/>
                <a:gd name="connsiteY81" fmla="*/ 435941 h 1057056"/>
                <a:gd name="connsiteX82" fmla="*/ 1497540 w 4962613"/>
                <a:gd name="connsiteY82" fmla="*/ 433808 h 1057056"/>
                <a:gd name="connsiteX83" fmla="*/ 1480005 w 4962613"/>
                <a:gd name="connsiteY83" fmla="*/ 433808 h 1057056"/>
                <a:gd name="connsiteX84" fmla="*/ 1480005 w 4962613"/>
                <a:gd name="connsiteY84" fmla="*/ 366883 h 1057056"/>
                <a:gd name="connsiteX85" fmla="*/ 1478110 w 4962613"/>
                <a:gd name="connsiteY85" fmla="*/ 361817 h 1057056"/>
                <a:gd name="connsiteX86" fmla="*/ 1473607 w 4962613"/>
                <a:gd name="connsiteY86" fmla="*/ 359684 h 1057056"/>
                <a:gd name="connsiteX87" fmla="*/ 1250754 w 4962613"/>
                <a:gd name="connsiteY87" fmla="*/ 359684 h 1057056"/>
                <a:gd name="connsiteX88" fmla="*/ 1250754 w 4962613"/>
                <a:gd name="connsiteY88" fmla="*/ 292760 h 1057056"/>
                <a:gd name="connsiteX89" fmla="*/ 1248858 w 4962613"/>
                <a:gd name="connsiteY89" fmla="*/ 287694 h 1057056"/>
                <a:gd name="connsiteX90" fmla="*/ 1244356 w 4962613"/>
                <a:gd name="connsiteY90" fmla="*/ 285561 h 1057056"/>
                <a:gd name="connsiteX91" fmla="*/ 988803 w 4962613"/>
                <a:gd name="connsiteY91" fmla="*/ 285561 h 1057056"/>
                <a:gd name="connsiteX92" fmla="*/ 988803 w 4962613"/>
                <a:gd name="connsiteY92" fmla="*/ 221303 h 1057056"/>
                <a:gd name="connsiteX93" fmla="*/ 986907 w 4962613"/>
                <a:gd name="connsiteY93" fmla="*/ 216237 h 1057056"/>
                <a:gd name="connsiteX94" fmla="*/ 982405 w 4962613"/>
                <a:gd name="connsiteY94" fmla="*/ 214104 h 1057056"/>
                <a:gd name="connsiteX95" fmla="*/ 863810 w 4962613"/>
                <a:gd name="connsiteY95" fmla="*/ 214104 h 1057056"/>
                <a:gd name="connsiteX96" fmla="*/ 863810 w 4962613"/>
                <a:gd name="connsiteY96" fmla="*/ 149846 h 1057056"/>
                <a:gd name="connsiteX97" fmla="*/ 861915 w 4962613"/>
                <a:gd name="connsiteY97" fmla="*/ 144780 h 1057056"/>
                <a:gd name="connsiteX98" fmla="*/ 857413 w 4962613"/>
                <a:gd name="connsiteY98" fmla="*/ 142647 h 1057056"/>
                <a:gd name="connsiteX99" fmla="*/ 771399 w 4962613"/>
                <a:gd name="connsiteY99" fmla="*/ 142647 h 1057056"/>
                <a:gd name="connsiteX100" fmla="*/ 771399 w 4962613"/>
                <a:gd name="connsiteY100" fmla="*/ 78389 h 1057056"/>
                <a:gd name="connsiteX101" fmla="*/ 769503 w 4962613"/>
                <a:gd name="connsiteY101" fmla="*/ 73323 h 1057056"/>
                <a:gd name="connsiteX102" fmla="*/ 765001 w 4962613"/>
                <a:gd name="connsiteY102" fmla="*/ 71190 h 1057056"/>
                <a:gd name="connsiteX103" fmla="*/ 250459 w 4962613"/>
                <a:gd name="connsiteY103" fmla="*/ 71190 h 1057056"/>
                <a:gd name="connsiteX104" fmla="*/ 250459 w 4962613"/>
                <a:gd name="connsiteY104" fmla="*/ 7199 h 1057056"/>
                <a:gd name="connsiteX105" fmla="*/ 248563 w 4962613"/>
                <a:gd name="connsiteY105" fmla="*/ 2133 h 1057056"/>
                <a:gd name="connsiteX106" fmla="*/ 244061 w 4962613"/>
                <a:gd name="connsiteY106" fmla="*/ 0 h 1057056"/>
                <a:gd name="connsiteX107" fmla="*/ 0 w 4962613"/>
                <a:gd name="connsiteY107" fmla="*/ 0 h 1057056"/>
                <a:gd name="connsiteX108" fmla="*/ 0 w 4962613"/>
                <a:gd name="connsiteY108" fmla="*/ 14265 h 105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4962613" h="1057056">
                  <a:moveTo>
                    <a:pt x="0" y="14265"/>
                  </a:moveTo>
                  <a:lnTo>
                    <a:pt x="237782" y="14265"/>
                  </a:lnTo>
                  <a:lnTo>
                    <a:pt x="237782" y="78523"/>
                  </a:lnTo>
                  <a:cubicBezTo>
                    <a:pt x="237782" y="80389"/>
                    <a:pt x="238493" y="82255"/>
                    <a:pt x="239677" y="83589"/>
                  </a:cubicBezTo>
                  <a:cubicBezTo>
                    <a:pt x="240862" y="84922"/>
                    <a:pt x="242521" y="85722"/>
                    <a:pt x="244180" y="85722"/>
                  </a:cubicBezTo>
                  <a:lnTo>
                    <a:pt x="758722" y="85722"/>
                  </a:lnTo>
                  <a:lnTo>
                    <a:pt x="758722" y="149980"/>
                  </a:lnTo>
                  <a:cubicBezTo>
                    <a:pt x="758722" y="151846"/>
                    <a:pt x="759433" y="153712"/>
                    <a:pt x="760617" y="155046"/>
                  </a:cubicBezTo>
                  <a:cubicBezTo>
                    <a:pt x="761802" y="156379"/>
                    <a:pt x="763461" y="157179"/>
                    <a:pt x="765120" y="157179"/>
                  </a:cubicBezTo>
                  <a:lnTo>
                    <a:pt x="851133" y="157179"/>
                  </a:lnTo>
                  <a:lnTo>
                    <a:pt x="851133" y="221437"/>
                  </a:lnTo>
                  <a:cubicBezTo>
                    <a:pt x="851133" y="223303"/>
                    <a:pt x="851844" y="225169"/>
                    <a:pt x="853029" y="226502"/>
                  </a:cubicBezTo>
                  <a:cubicBezTo>
                    <a:pt x="854214" y="227836"/>
                    <a:pt x="855872" y="228636"/>
                    <a:pt x="857531" y="228636"/>
                  </a:cubicBezTo>
                  <a:lnTo>
                    <a:pt x="976126" y="228636"/>
                  </a:lnTo>
                  <a:lnTo>
                    <a:pt x="976126" y="292893"/>
                  </a:lnTo>
                  <a:cubicBezTo>
                    <a:pt x="976126" y="294760"/>
                    <a:pt x="976837" y="296626"/>
                    <a:pt x="978021" y="297959"/>
                  </a:cubicBezTo>
                  <a:cubicBezTo>
                    <a:pt x="979206" y="299293"/>
                    <a:pt x="980865" y="300092"/>
                    <a:pt x="982523" y="300092"/>
                  </a:cubicBezTo>
                  <a:lnTo>
                    <a:pt x="1238077" y="300092"/>
                  </a:lnTo>
                  <a:lnTo>
                    <a:pt x="1238077" y="367017"/>
                  </a:lnTo>
                  <a:cubicBezTo>
                    <a:pt x="1238077" y="368883"/>
                    <a:pt x="1238787" y="370750"/>
                    <a:pt x="1239972" y="372083"/>
                  </a:cubicBezTo>
                  <a:cubicBezTo>
                    <a:pt x="1241157" y="373416"/>
                    <a:pt x="1242816" y="374216"/>
                    <a:pt x="1244474" y="374216"/>
                  </a:cubicBezTo>
                  <a:lnTo>
                    <a:pt x="1467328" y="374216"/>
                  </a:lnTo>
                  <a:lnTo>
                    <a:pt x="1467328" y="441140"/>
                  </a:lnTo>
                  <a:cubicBezTo>
                    <a:pt x="1467328" y="443006"/>
                    <a:pt x="1468039" y="444873"/>
                    <a:pt x="1469224" y="446206"/>
                  </a:cubicBezTo>
                  <a:cubicBezTo>
                    <a:pt x="1470409" y="447539"/>
                    <a:pt x="1472067" y="448339"/>
                    <a:pt x="1473726" y="448339"/>
                  </a:cubicBezTo>
                  <a:lnTo>
                    <a:pt x="1491260" y="448339"/>
                  </a:lnTo>
                  <a:lnTo>
                    <a:pt x="1491260" y="589386"/>
                  </a:lnTo>
                  <a:cubicBezTo>
                    <a:pt x="1491260" y="591253"/>
                    <a:pt x="1491971" y="593119"/>
                    <a:pt x="1493156" y="594452"/>
                  </a:cubicBezTo>
                  <a:cubicBezTo>
                    <a:pt x="1494341" y="595786"/>
                    <a:pt x="1495999" y="596585"/>
                    <a:pt x="1497658" y="596585"/>
                  </a:cubicBezTo>
                  <a:lnTo>
                    <a:pt x="1562701" y="596585"/>
                  </a:lnTo>
                  <a:lnTo>
                    <a:pt x="1562701" y="663510"/>
                  </a:lnTo>
                  <a:cubicBezTo>
                    <a:pt x="1562701" y="665376"/>
                    <a:pt x="1563412" y="667242"/>
                    <a:pt x="1564597" y="668576"/>
                  </a:cubicBezTo>
                  <a:cubicBezTo>
                    <a:pt x="1565782" y="669909"/>
                    <a:pt x="1567441" y="670709"/>
                    <a:pt x="1569099" y="670709"/>
                  </a:cubicBezTo>
                  <a:lnTo>
                    <a:pt x="2214676" y="670709"/>
                  </a:lnTo>
                  <a:lnTo>
                    <a:pt x="2214676" y="737633"/>
                  </a:lnTo>
                  <a:cubicBezTo>
                    <a:pt x="2214676" y="739499"/>
                    <a:pt x="2215387" y="741366"/>
                    <a:pt x="2216572" y="742699"/>
                  </a:cubicBezTo>
                  <a:cubicBezTo>
                    <a:pt x="2217757" y="744032"/>
                    <a:pt x="2219415" y="744832"/>
                    <a:pt x="2221074" y="744832"/>
                  </a:cubicBezTo>
                  <a:lnTo>
                    <a:pt x="2824947" y="744832"/>
                  </a:lnTo>
                  <a:lnTo>
                    <a:pt x="2824947" y="815756"/>
                  </a:lnTo>
                  <a:cubicBezTo>
                    <a:pt x="2824947" y="817622"/>
                    <a:pt x="2825658" y="819488"/>
                    <a:pt x="2826843" y="820822"/>
                  </a:cubicBezTo>
                  <a:cubicBezTo>
                    <a:pt x="2828028" y="822155"/>
                    <a:pt x="2829686" y="822955"/>
                    <a:pt x="2831345" y="822955"/>
                  </a:cubicBezTo>
                  <a:lnTo>
                    <a:pt x="3033347" y="822955"/>
                  </a:lnTo>
                  <a:lnTo>
                    <a:pt x="3033347" y="893745"/>
                  </a:lnTo>
                  <a:cubicBezTo>
                    <a:pt x="3033347" y="895611"/>
                    <a:pt x="3034058" y="897478"/>
                    <a:pt x="3035243" y="898811"/>
                  </a:cubicBezTo>
                  <a:cubicBezTo>
                    <a:pt x="3036428" y="900144"/>
                    <a:pt x="3038086" y="900944"/>
                    <a:pt x="3039745" y="900944"/>
                  </a:cubicBezTo>
                  <a:lnTo>
                    <a:pt x="3078012" y="900944"/>
                  </a:lnTo>
                  <a:lnTo>
                    <a:pt x="3078012" y="971868"/>
                  </a:lnTo>
                  <a:cubicBezTo>
                    <a:pt x="3078012" y="973734"/>
                    <a:pt x="3078723" y="975600"/>
                    <a:pt x="3079908" y="976934"/>
                  </a:cubicBezTo>
                  <a:cubicBezTo>
                    <a:pt x="3081093" y="978267"/>
                    <a:pt x="3082752" y="979067"/>
                    <a:pt x="3084410" y="979067"/>
                  </a:cubicBezTo>
                  <a:lnTo>
                    <a:pt x="3262599" y="979067"/>
                  </a:lnTo>
                  <a:lnTo>
                    <a:pt x="3262599" y="1049857"/>
                  </a:lnTo>
                  <a:cubicBezTo>
                    <a:pt x="3262599" y="1051723"/>
                    <a:pt x="3263309" y="1053590"/>
                    <a:pt x="3264494" y="1054923"/>
                  </a:cubicBezTo>
                  <a:cubicBezTo>
                    <a:pt x="3265679" y="1056256"/>
                    <a:pt x="3267338" y="1057056"/>
                    <a:pt x="3268996" y="1057056"/>
                  </a:cubicBezTo>
                  <a:lnTo>
                    <a:pt x="4962614" y="1057056"/>
                  </a:lnTo>
                  <a:lnTo>
                    <a:pt x="4962614" y="1042791"/>
                  </a:lnTo>
                  <a:lnTo>
                    <a:pt x="3275276" y="1042791"/>
                  </a:lnTo>
                  <a:lnTo>
                    <a:pt x="3275276" y="972001"/>
                  </a:lnTo>
                  <a:cubicBezTo>
                    <a:pt x="3275276" y="970134"/>
                    <a:pt x="3274565" y="968268"/>
                    <a:pt x="3273380" y="966935"/>
                  </a:cubicBezTo>
                  <a:cubicBezTo>
                    <a:pt x="3272195" y="965602"/>
                    <a:pt x="3270536" y="964802"/>
                    <a:pt x="3268878" y="964802"/>
                  </a:cubicBezTo>
                  <a:lnTo>
                    <a:pt x="3090689" y="964802"/>
                  </a:lnTo>
                  <a:lnTo>
                    <a:pt x="3090689" y="893878"/>
                  </a:lnTo>
                  <a:cubicBezTo>
                    <a:pt x="3090689" y="892012"/>
                    <a:pt x="3089979" y="890145"/>
                    <a:pt x="3088794" y="888812"/>
                  </a:cubicBezTo>
                  <a:cubicBezTo>
                    <a:pt x="3087609" y="887479"/>
                    <a:pt x="3085950" y="886679"/>
                    <a:pt x="3084292" y="886679"/>
                  </a:cubicBezTo>
                  <a:lnTo>
                    <a:pt x="3046024" y="886679"/>
                  </a:lnTo>
                  <a:lnTo>
                    <a:pt x="3046024" y="815889"/>
                  </a:lnTo>
                  <a:cubicBezTo>
                    <a:pt x="3046024" y="814022"/>
                    <a:pt x="3045313" y="812156"/>
                    <a:pt x="3044128" y="810823"/>
                  </a:cubicBezTo>
                  <a:cubicBezTo>
                    <a:pt x="3042944" y="809490"/>
                    <a:pt x="3041285" y="808690"/>
                    <a:pt x="3039626" y="808690"/>
                  </a:cubicBezTo>
                  <a:lnTo>
                    <a:pt x="2837624" y="808690"/>
                  </a:lnTo>
                  <a:lnTo>
                    <a:pt x="2837624" y="737766"/>
                  </a:lnTo>
                  <a:cubicBezTo>
                    <a:pt x="2837624" y="735900"/>
                    <a:pt x="2836913" y="734033"/>
                    <a:pt x="2835729" y="732700"/>
                  </a:cubicBezTo>
                  <a:cubicBezTo>
                    <a:pt x="2834544" y="731367"/>
                    <a:pt x="2832885" y="730567"/>
                    <a:pt x="2831227" y="730567"/>
                  </a:cubicBezTo>
                  <a:lnTo>
                    <a:pt x="2227353" y="730567"/>
                  </a:lnTo>
                  <a:lnTo>
                    <a:pt x="2227353" y="663643"/>
                  </a:lnTo>
                  <a:cubicBezTo>
                    <a:pt x="2227353" y="661777"/>
                    <a:pt x="2226642" y="659910"/>
                    <a:pt x="2225458" y="658577"/>
                  </a:cubicBezTo>
                  <a:cubicBezTo>
                    <a:pt x="2224273" y="657244"/>
                    <a:pt x="2222614" y="656444"/>
                    <a:pt x="2220956" y="656444"/>
                  </a:cubicBezTo>
                  <a:lnTo>
                    <a:pt x="1575378" y="656444"/>
                  </a:lnTo>
                  <a:lnTo>
                    <a:pt x="1575378" y="589386"/>
                  </a:lnTo>
                  <a:cubicBezTo>
                    <a:pt x="1575378" y="587520"/>
                    <a:pt x="1574668" y="585654"/>
                    <a:pt x="1573483" y="584320"/>
                  </a:cubicBezTo>
                  <a:cubicBezTo>
                    <a:pt x="1572298" y="582987"/>
                    <a:pt x="1570640" y="582187"/>
                    <a:pt x="1568981" y="582187"/>
                  </a:cubicBezTo>
                  <a:lnTo>
                    <a:pt x="1503937" y="582187"/>
                  </a:lnTo>
                  <a:lnTo>
                    <a:pt x="1503937" y="441007"/>
                  </a:lnTo>
                  <a:cubicBezTo>
                    <a:pt x="1503937" y="439140"/>
                    <a:pt x="1503226" y="437274"/>
                    <a:pt x="1502042" y="435941"/>
                  </a:cubicBezTo>
                  <a:cubicBezTo>
                    <a:pt x="1500857" y="434607"/>
                    <a:pt x="1499198" y="433808"/>
                    <a:pt x="1497540" y="433808"/>
                  </a:cubicBezTo>
                  <a:lnTo>
                    <a:pt x="1480005" y="433808"/>
                  </a:lnTo>
                  <a:lnTo>
                    <a:pt x="1480005" y="366883"/>
                  </a:lnTo>
                  <a:cubicBezTo>
                    <a:pt x="1480005" y="365017"/>
                    <a:pt x="1479294" y="363151"/>
                    <a:pt x="1478110" y="361817"/>
                  </a:cubicBezTo>
                  <a:cubicBezTo>
                    <a:pt x="1476925" y="360484"/>
                    <a:pt x="1475266" y="359684"/>
                    <a:pt x="1473607" y="359684"/>
                  </a:cubicBezTo>
                  <a:lnTo>
                    <a:pt x="1250754" y="359684"/>
                  </a:lnTo>
                  <a:lnTo>
                    <a:pt x="1250754" y="292760"/>
                  </a:lnTo>
                  <a:cubicBezTo>
                    <a:pt x="1250754" y="290894"/>
                    <a:pt x="1250043" y="289027"/>
                    <a:pt x="1248858" y="287694"/>
                  </a:cubicBezTo>
                  <a:cubicBezTo>
                    <a:pt x="1247673" y="286361"/>
                    <a:pt x="1246015" y="285561"/>
                    <a:pt x="1244356" y="285561"/>
                  </a:cubicBezTo>
                  <a:lnTo>
                    <a:pt x="988803" y="285561"/>
                  </a:lnTo>
                  <a:lnTo>
                    <a:pt x="988803" y="221303"/>
                  </a:lnTo>
                  <a:cubicBezTo>
                    <a:pt x="988803" y="219437"/>
                    <a:pt x="988092" y="217570"/>
                    <a:pt x="986907" y="216237"/>
                  </a:cubicBezTo>
                  <a:cubicBezTo>
                    <a:pt x="985722" y="214904"/>
                    <a:pt x="984064" y="214104"/>
                    <a:pt x="982405" y="214104"/>
                  </a:cubicBezTo>
                  <a:lnTo>
                    <a:pt x="863810" y="214104"/>
                  </a:lnTo>
                  <a:lnTo>
                    <a:pt x="863810" y="149846"/>
                  </a:lnTo>
                  <a:cubicBezTo>
                    <a:pt x="863810" y="147980"/>
                    <a:pt x="863099" y="146113"/>
                    <a:pt x="861915" y="144780"/>
                  </a:cubicBezTo>
                  <a:cubicBezTo>
                    <a:pt x="860730" y="143447"/>
                    <a:pt x="859071" y="142647"/>
                    <a:pt x="857413" y="142647"/>
                  </a:cubicBezTo>
                  <a:lnTo>
                    <a:pt x="771399" y="142647"/>
                  </a:lnTo>
                  <a:lnTo>
                    <a:pt x="771399" y="78389"/>
                  </a:lnTo>
                  <a:cubicBezTo>
                    <a:pt x="771399" y="76523"/>
                    <a:pt x="770688" y="74656"/>
                    <a:pt x="769503" y="73323"/>
                  </a:cubicBezTo>
                  <a:cubicBezTo>
                    <a:pt x="768318" y="71990"/>
                    <a:pt x="766660" y="71190"/>
                    <a:pt x="765001" y="71190"/>
                  </a:cubicBezTo>
                  <a:lnTo>
                    <a:pt x="250459" y="71190"/>
                  </a:lnTo>
                  <a:lnTo>
                    <a:pt x="250459" y="7199"/>
                  </a:lnTo>
                  <a:cubicBezTo>
                    <a:pt x="250459" y="5333"/>
                    <a:pt x="249748" y="3466"/>
                    <a:pt x="248563" y="2133"/>
                  </a:cubicBezTo>
                  <a:cubicBezTo>
                    <a:pt x="247378" y="800"/>
                    <a:pt x="245720" y="0"/>
                    <a:pt x="244061" y="0"/>
                  </a:cubicBezTo>
                  <a:lnTo>
                    <a:pt x="0" y="0"/>
                  </a:lnTo>
                  <a:lnTo>
                    <a:pt x="0" y="14265"/>
                  </a:lnTo>
                </a:path>
              </a:pathLst>
            </a:custGeom>
            <a:solidFill>
              <a:schemeClr val="accent6"/>
            </a:solidFill>
            <a:ln w="11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41">
              <a:extLst>
                <a:ext uri="{FF2B5EF4-FFF2-40B4-BE49-F238E27FC236}">
                  <a16:creationId xmlns:a16="http://schemas.microsoft.com/office/drawing/2014/main" id="{C010FDD5-7542-2A6D-4D07-FEBEED7B7618}"/>
                </a:ext>
              </a:extLst>
            </p:cNvPr>
            <p:cNvGrpSpPr/>
            <p:nvPr/>
          </p:nvGrpSpPr>
          <p:grpSpPr>
            <a:xfrm>
              <a:off x="2257055" y="1453018"/>
              <a:ext cx="4965101" cy="1542723"/>
              <a:chOff x="2151021" y="1768959"/>
              <a:chExt cx="4965101" cy="1542723"/>
            </a:xfrm>
            <a:solidFill>
              <a:schemeClr val="accent2">
                <a:alpha val="30000"/>
              </a:schemeClr>
            </a:solidFill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5BBED8AA-C98E-10D7-8E58-A61BAB869130}"/>
                  </a:ext>
                </a:extLst>
              </p:cNvPr>
              <p:cNvSpPr/>
              <p:nvPr/>
            </p:nvSpPr>
            <p:spPr>
              <a:xfrm>
                <a:off x="2192724" y="1776158"/>
                <a:ext cx="4923398" cy="1535524"/>
              </a:xfrm>
              <a:custGeom>
                <a:avLst/>
                <a:gdLst>
                  <a:gd name="connsiteX0" fmla="*/ 59120 w 4923398"/>
                  <a:gd name="connsiteY0" fmla="*/ 135315 h 1535524"/>
                  <a:gd name="connsiteX1" fmla="*/ 0 w 4923398"/>
                  <a:gd name="connsiteY1" fmla="*/ 135315 h 1535524"/>
                  <a:gd name="connsiteX2" fmla="*/ 0 w 4923398"/>
                  <a:gd name="connsiteY2" fmla="*/ 49193 h 1535524"/>
                  <a:gd name="connsiteX3" fmla="*/ 56158 w 4923398"/>
                  <a:gd name="connsiteY3" fmla="*/ 49193 h 1535524"/>
                  <a:gd name="connsiteX4" fmla="*/ 56158 w 4923398"/>
                  <a:gd name="connsiteY4" fmla="*/ 91188 h 1535524"/>
                  <a:gd name="connsiteX5" fmla="*/ 58053 w 4923398"/>
                  <a:gd name="connsiteY5" fmla="*/ 96254 h 1535524"/>
                  <a:gd name="connsiteX6" fmla="*/ 59238 w 4923398"/>
                  <a:gd name="connsiteY6" fmla="*/ 97320 h 1535524"/>
                  <a:gd name="connsiteX7" fmla="*/ 59238 w 4923398"/>
                  <a:gd name="connsiteY7" fmla="*/ 135315 h 1535524"/>
                  <a:gd name="connsiteX8" fmla="*/ 3041996 w 4923398"/>
                  <a:gd name="connsiteY8" fmla="*/ 1251296 h 1535524"/>
                  <a:gd name="connsiteX9" fmla="*/ 1833894 w 4923398"/>
                  <a:gd name="connsiteY9" fmla="*/ 1251296 h 1535524"/>
                  <a:gd name="connsiteX10" fmla="*/ 1833894 w 4923398"/>
                  <a:gd name="connsiteY10" fmla="*/ 1205836 h 1535524"/>
                  <a:gd name="connsiteX11" fmla="*/ 1831998 w 4923398"/>
                  <a:gd name="connsiteY11" fmla="*/ 1200770 h 1535524"/>
                  <a:gd name="connsiteX12" fmla="*/ 1827496 w 4923398"/>
                  <a:gd name="connsiteY12" fmla="*/ 1198637 h 1535524"/>
                  <a:gd name="connsiteX13" fmla="*/ 1649308 w 4923398"/>
                  <a:gd name="connsiteY13" fmla="*/ 1198637 h 1535524"/>
                  <a:gd name="connsiteX14" fmla="*/ 1649308 w 4923398"/>
                  <a:gd name="connsiteY14" fmla="*/ 1153176 h 1535524"/>
                  <a:gd name="connsiteX15" fmla="*/ 1647412 w 4923398"/>
                  <a:gd name="connsiteY15" fmla="*/ 1148110 h 1535524"/>
                  <a:gd name="connsiteX16" fmla="*/ 1642910 w 4923398"/>
                  <a:gd name="connsiteY16" fmla="*/ 1145977 h 1535524"/>
                  <a:gd name="connsiteX17" fmla="*/ 1631418 w 4923398"/>
                  <a:gd name="connsiteY17" fmla="*/ 1145977 h 1535524"/>
                  <a:gd name="connsiteX18" fmla="*/ 1631418 w 4923398"/>
                  <a:gd name="connsiteY18" fmla="*/ 1100650 h 1535524"/>
                  <a:gd name="connsiteX19" fmla="*/ 1629522 w 4923398"/>
                  <a:gd name="connsiteY19" fmla="*/ 1095584 h 1535524"/>
                  <a:gd name="connsiteX20" fmla="*/ 1625020 w 4923398"/>
                  <a:gd name="connsiteY20" fmla="*/ 1093451 h 1535524"/>
                  <a:gd name="connsiteX21" fmla="*/ 1607486 w 4923398"/>
                  <a:gd name="connsiteY21" fmla="*/ 1093451 h 1535524"/>
                  <a:gd name="connsiteX22" fmla="*/ 1607486 w 4923398"/>
                  <a:gd name="connsiteY22" fmla="*/ 1047991 h 1535524"/>
                  <a:gd name="connsiteX23" fmla="*/ 1605590 w 4923398"/>
                  <a:gd name="connsiteY23" fmla="*/ 1042925 h 1535524"/>
                  <a:gd name="connsiteX24" fmla="*/ 1601088 w 4923398"/>
                  <a:gd name="connsiteY24" fmla="*/ 1040792 h 1535524"/>
                  <a:gd name="connsiteX25" fmla="*/ 1592558 w 4923398"/>
                  <a:gd name="connsiteY25" fmla="*/ 1040792 h 1535524"/>
                  <a:gd name="connsiteX26" fmla="*/ 1592558 w 4923398"/>
                  <a:gd name="connsiteY26" fmla="*/ 995331 h 1535524"/>
                  <a:gd name="connsiteX27" fmla="*/ 1590662 w 4923398"/>
                  <a:gd name="connsiteY27" fmla="*/ 990265 h 1535524"/>
                  <a:gd name="connsiteX28" fmla="*/ 1586160 w 4923398"/>
                  <a:gd name="connsiteY28" fmla="*/ 988132 h 1535524"/>
                  <a:gd name="connsiteX29" fmla="*/ 1256204 w 4923398"/>
                  <a:gd name="connsiteY29" fmla="*/ 988132 h 1535524"/>
                  <a:gd name="connsiteX30" fmla="*/ 1256204 w 4923398"/>
                  <a:gd name="connsiteY30" fmla="*/ 942672 h 1535524"/>
                  <a:gd name="connsiteX31" fmla="*/ 1254308 w 4923398"/>
                  <a:gd name="connsiteY31" fmla="*/ 937606 h 1535524"/>
                  <a:gd name="connsiteX32" fmla="*/ 1249806 w 4923398"/>
                  <a:gd name="connsiteY32" fmla="*/ 935473 h 1535524"/>
                  <a:gd name="connsiteX33" fmla="*/ 1006100 w 4923398"/>
                  <a:gd name="connsiteY33" fmla="*/ 935473 h 1535524"/>
                  <a:gd name="connsiteX34" fmla="*/ 1006100 w 4923398"/>
                  <a:gd name="connsiteY34" fmla="*/ 892145 h 1535524"/>
                  <a:gd name="connsiteX35" fmla="*/ 1004205 w 4923398"/>
                  <a:gd name="connsiteY35" fmla="*/ 887079 h 1535524"/>
                  <a:gd name="connsiteX36" fmla="*/ 999702 w 4923398"/>
                  <a:gd name="connsiteY36" fmla="*/ 884946 h 1535524"/>
                  <a:gd name="connsiteX37" fmla="*/ 943545 w 4923398"/>
                  <a:gd name="connsiteY37" fmla="*/ 884946 h 1535524"/>
                  <a:gd name="connsiteX38" fmla="*/ 943545 w 4923398"/>
                  <a:gd name="connsiteY38" fmla="*/ 841619 h 1535524"/>
                  <a:gd name="connsiteX39" fmla="*/ 941649 w 4923398"/>
                  <a:gd name="connsiteY39" fmla="*/ 836553 h 1535524"/>
                  <a:gd name="connsiteX40" fmla="*/ 937147 w 4923398"/>
                  <a:gd name="connsiteY40" fmla="*/ 834420 h 1535524"/>
                  <a:gd name="connsiteX41" fmla="*/ 854214 w 4923398"/>
                  <a:gd name="connsiteY41" fmla="*/ 834420 h 1535524"/>
                  <a:gd name="connsiteX42" fmla="*/ 854214 w 4923398"/>
                  <a:gd name="connsiteY42" fmla="*/ 791092 h 1535524"/>
                  <a:gd name="connsiteX43" fmla="*/ 852318 w 4923398"/>
                  <a:gd name="connsiteY43" fmla="*/ 786026 h 1535524"/>
                  <a:gd name="connsiteX44" fmla="*/ 847816 w 4923398"/>
                  <a:gd name="connsiteY44" fmla="*/ 783893 h 1535524"/>
                  <a:gd name="connsiteX45" fmla="*/ 776730 w 4923398"/>
                  <a:gd name="connsiteY45" fmla="*/ 783893 h 1535524"/>
                  <a:gd name="connsiteX46" fmla="*/ 776730 w 4923398"/>
                  <a:gd name="connsiteY46" fmla="*/ 690039 h 1535524"/>
                  <a:gd name="connsiteX47" fmla="*/ 774835 w 4923398"/>
                  <a:gd name="connsiteY47" fmla="*/ 684973 h 1535524"/>
                  <a:gd name="connsiteX48" fmla="*/ 770332 w 4923398"/>
                  <a:gd name="connsiteY48" fmla="*/ 682840 h 1535524"/>
                  <a:gd name="connsiteX49" fmla="*/ 645695 w 4923398"/>
                  <a:gd name="connsiteY49" fmla="*/ 682840 h 1535524"/>
                  <a:gd name="connsiteX50" fmla="*/ 645695 w 4923398"/>
                  <a:gd name="connsiteY50" fmla="*/ 639513 h 1535524"/>
                  <a:gd name="connsiteX51" fmla="*/ 643800 w 4923398"/>
                  <a:gd name="connsiteY51" fmla="*/ 634447 h 1535524"/>
                  <a:gd name="connsiteX52" fmla="*/ 642615 w 4923398"/>
                  <a:gd name="connsiteY52" fmla="*/ 633380 h 1535524"/>
                  <a:gd name="connsiteX53" fmla="*/ 642615 w 4923398"/>
                  <a:gd name="connsiteY53" fmla="*/ 588853 h 1535524"/>
                  <a:gd name="connsiteX54" fmla="*/ 640719 w 4923398"/>
                  <a:gd name="connsiteY54" fmla="*/ 583787 h 1535524"/>
                  <a:gd name="connsiteX55" fmla="*/ 636217 w 4923398"/>
                  <a:gd name="connsiteY55" fmla="*/ 581654 h 1535524"/>
                  <a:gd name="connsiteX56" fmla="*/ 594988 w 4923398"/>
                  <a:gd name="connsiteY56" fmla="*/ 581654 h 1535524"/>
                  <a:gd name="connsiteX57" fmla="*/ 594988 w 4923398"/>
                  <a:gd name="connsiteY57" fmla="*/ 538327 h 1535524"/>
                  <a:gd name="connsiteX58" fmla="*/ 593092 w 4923398"/>
                  <a:gd name="connsiteY58" fmla="*/ 533261 h 1535524"/>
                  <a:gd name="connsiteX59" fmla="*/ 588590 w 4923398"/>
                  <a:gd name="connsiteY59" fmla="*/ 531128 h 1535524"/>
                  <a:gd name="connsiteX60" fmla="*/ 553284 w 4923398"/>
                  <a:gd name="connsiteY60" fmla="*/ 531128 h 1535524"/>
                  <a:gd name="connsiteX61" fmla="*/ 553284 w 4923398"/>
                  <a:gd name="connsiteY61" fmla="*/ 487800 h 1535524"/>
                  <a:gd name="connsiteX62" fmla="*/ 551388 w 4923398"/>
                  <a:gd name="connsiteY62" fmla="*/ 482734 h 1535524"/>
                  <a:gd name="connsiteX63" fmla="*/ 546886 w 4923398"/>
                  <a:gd name="connsiteY63" fmla="*/ 480601 h 1535524"/>
                  <a:gd name="connsiteX64" fmla="*/ 511580 w 4923398"/>
                  <a:gd name="connsiteY64" fmla="*/ 480601 h 1535524"/>
                  <a:gd name="connsiteX65" fmla="*/ 511580 w 4923398"/>
                  <a:gd name="connsiteY65" fmla="*/ 437274 h 1535524"/>
                  <a:gd name="connsiteX66" fmla="*/ 509685 w 4923398"/>
                  <a:gd name="connsiteY66" fmla="*/ 432208 h 1535524"/>
                  <a:gd name="connsiteX67" fmla="*/ 505183 w 4923398"/>
                  <a:gd name="connsiteY67" fmla="*/ 430075 h 1535524"/>
                  <a:gd name="connsiteX68" fmla="*/ 481724 w 4923398"/>
                  <a:gd name="connsiteY68" fmla="*/ 430075 h 1535524"/>
                  <a:gd name="connsiteX69" fmla="*/ 481724 w 4923398"/>
                  <a:gd name="connsiteY69" fmla="*/ 386747 h 1535524"/>
                  <a:gd name="connsiteX70" fmla="*/ 479829 w 4923398"/>
                  <a:gd name="connsiteY70" fmla="*/ 381681 h 1535524"/>
                  <a:gd name="connsiteX71" fmla="*/ 475682 w 4923398"/>
                  <a:gd name="connsiteY71" fmla="*/ 379548 h 1535524"/>
                  <a:gd name="connsiteX72" fmla="*/ 475682 w 4923398"/>
                  <a:gd name="connsiteY72" fmla="*/ 336088 h 1535524"/>
                  <a:gd name="connsiteX73" fmla="*/ 473786 w 4923398"/>
                  <a:gd name="connsiteY73" fmla="*/ 331022 h 1535524"/>
                  <a:gd name="connsiteX74" fmla="*/ 469284 w 4923398"/>
                  <a:gd name="connsiteY74" fmla="*/ 328889 h 1535524"/>
                  <a:gd name="connsiteX75" fmla="*/ 288134 w 4923398"/>
                  <a:gd name="connsiteY75" fmla="*/ 328889 h 1535524"/>
                  <a:gd name="connsiteX76" fmla="*/ 288134 w 4923398"/>
                  <a:gd name="connsiteY76" fmla="*/ 286894 h 1535524"/>
                  <a:gd name="connsiteX77" fmla="*/ 286239 w 4923398"/>
                  <a:gd name="connsiteY77" fmla="*/ 281828 h 1535524"/>
                  <a:gd name="connsiteX78" fmla="*/ 281736 w 4923398"/>
                  <a:gd name="connsiteY78" fmla="*/ 279695 h 1535524"/>
                  <a:gd name="connsiteX79" fmla="*/ 180913 w 4923398"/>
                  <a:gd name="connsiteY79" fmla="*/ 279695 h 1535524"/>
                  <a:gd name="connsiteX80" fmla="*/ 180913 w 4923398"/>
                  <a:gd name="connsiteY80" fmla="*/ 237701 h 1535524"/>
                  <a:gd name="connsiteX81" fmla="*/ 179018 w 4923398"/>
                  <a:gd name="connsiteY81" fmla="*/ 232635 h 1535524"/>
                  <a:gd name="connsiteX82" fmla="*/ 174515 w 4923398"/>
                  <a:gd name="connsiteY82" fmla="*/ 230502 h 1535524"/>
                  <a:gd name="connsiteX83" fmla="*/ 157099 w 4923398"/>
                  <a:gd name="connsiteY83" fmla="*/ 230502 h 1535524"/>
                  <a:gd name="connsiteX84" fmla="*/ 157099 w 4923398"/>
                  <a:gd name="connsiteY84" fmla="*/ 188508 h 1535524"/>
                  <a:gd name="connsiteX85" fmla="*/ 155204 w 4923398"/>
                  <a:gd name="connsiteY85" fmla="*/ 183442 h 1535524"/>
                  <a:gd name="connsiteX86" fmla="*/ 150702 w 4923398"/>
                  <a:gd name="connsiteY86" fmla="*/ 181309 h 1535524"/>
                  <a:gd name="connsiteX87" fmla="*/ 133167 w 4923398"/>
                  <a:gd name="connsiteY87" fmla="*/ 181309 h 1535524"/>
                  <a:gd name="connsiteX88" fmla="*/ 133167 w 4923398"/>
                  <a:gd name="connsiteY88" fmla="*/ 139314 h 1535524"/>
                  <a:gd name="connsiteX89" fmla="*/ 131272 w 4923398"/>
                  <a:gd name="connsiteY89" fmla="*/ 134248 h 1535524"/>
                  <a:gd name="connsiteX90" fmla="*/ 126770 w 4923398"/>
                  <a:gd name="connsiteY90" fmla="*/ 132115 h 1535524"/>
                  <a:gd name="connsiteX91" fmla="*/ 70612 w 4923398"/>
                  <a:gd name="connsiteY91" fmla="*/ 132115 h 1535524"/>
                  <a:gd name="connsiteX92" fmla="*/ 70612 w 4923398"/>
                  <a:gd name="connsiteY92" fmla="*/ 89988 h 1535524"/>
                  <a:gd name="connsiteX93" fmla="*/ 68716 w 4923398"/>
                  <a:gd name="connsiteY93" fmla="*/ 84922 h 1535524"/>
                  <a:gd name="connsiteX94" fmla="*/ 67531 w 4923398"/>
                  <a:gd name="connsiteY94" fmla="*/ 83855 h 1535524"/>
                  <a:gd name="connsiteX95" fmla="*/ 67531 w 4923398"/>
                  <a:gd name="connsiteY95" fmla="*/ 40794 h 1535524"/>
                  <a:gd name="connsiteX96" fmla="*/ 65636 w 4923398"/>
                  <a:gd name="connsiteY96" fmla="*/ 35728 h 1535524"/>
                  <a:gd name="connsiteX97" fmla="*/ 61134 w 4923398"/>
                  <a:gd name="connsiteY97" fmla="*/ 33595 h 1535524"/>
                  <a:gd name="connsiteX98" fmla="*/ 4976 w 4923398"/>
                  <a:gd name="connsiteY98" fmla="*/ 33595 h 1535524"/>
                  <a:gd name="connsiteX99" fmla="*/ 4976 w 4923398"/>
                  <a:gd name="connsiteY99" fmla="*/ 0 h 1535524"/>
                  <a:gd name="connsiteX100" fmla="*/ 150465 w 4923398"/>
                  <a:gd name="connsiteY100" fmla="*/ 0 h 1535524"/>
                  <a:gd name="connsiteX101" fmla="*/ 150465 w 4923398"/>
                  <a:gd name="connsiteY101" fmla="*/ 24663 h 1535524"/>
                  <a:gd name="connsiteX102" fmla="*/ 174279 w 4923398"/>
                  <a:gd name="connsiteY102" fmla="*/ 24663 h 1535524"/>
                  <a:gd name="connsiteX103" fmla="*/ 174279 w 4923398"/>
                  <a:gd name="connsiteY103" fmla="*/ 55059 h 1535524"/>
                  <a:gd name="connsiteX104" fmla="*/ 194775 w 4923398"/>
                  <a:gd name="connsiteY104" fmla="*/ 55059 h 1535524"/>
                  <a:gd name="connsiteX105" fmla="*/ 194775 w 4923398"/>
                  <a:gd name="connsiteY105" fmla="*/ 64258 h 1535524"/>
                  <a:gd name="connsiteX106" fmla="*/ 196671 w 4923398"/>
                  <a:gd name="connsiteY106" fmla="*/ 69324 h 1535524"/>
                  <a:gd name="connsiteX107" fmla="*/ 201173 w 4923398"/>
                  <a:gd name="connsiteY107" fmla="*/ 71457 h 1535524"/>
                  <a:gd name="connsiteX108" fmla="*/ 201173 w 4923398"/>
                  <a:gd name="connsiteY108" fmla="*/ 197573 h 1535524"/>
                  <a:gd name="connsiteX109" fmla="*/ 546412 w 4923398"/>
                  <a:gd name="connsiteY109" fmla="*/ 197573 h 1535524"/>
                  <a:gd name="connsiteX110" fmla="*/ 546412 w 4923398"/>
                  <a:gd name="connsiteY110" fmla="*/ 233702 h 1535524"/>
                  <a:gd name="connsiteX111" fmla="*/ 588116 w 4923398"/>
                  <a:gd name="connsiteY111" fmla="*/ 233702 h 1535524"/>
                  <a:gd name="connsiteX112" fmla="*/ 588116 w 4923398"/>
                  <a:gd name="connsiteY112" fmla="*/ 273296 h 1535524"/>
                  <a:gd name="connsiteX113" fmla="*/ 635743 w 4923398"/>
                  <a:gd name="connsiteY113" fmla="*/ 273296 h 1535524"/>
                  <a:gd name="connsiteX114" fmla="*/ 635743 w 4923398"/>
                  <a:gd name="connsiteY114" fmla="*/ 313824 h 1535524"/>
                  <a:gd name="connsiteX115" fmla="*/ 638705 w 4923398"/>
                  <a:gd name="connsiteY115" fmla="*/ 313824 h 1535524"/>
                  <a:gd name="connsiteX116" fmla="*/ 638705 w 4923398"/>
                  <a:gd name="connsiteY116" fmla="*/ 355285 h 1535524"/>
                  <a:gd name="connsiteX117" fmla="*/ 769622 w 4923398"/>
                  <a:gd name="connsiteY117" fmla="*/ 355285 h 1535524"/>
                  <a:gd name="connsiteX118" fmla="*/ 769622 w 4923398"/>
                  <a:gd name="connsiteY118" fmla="*/ 440740 h 1535524"/>
                  <a:gd name="connsiteX119" fmla="*/ 846987 w 4923398"/>
                  <a:gd name="connsiteY119" fmla="*/ 440740 h 1535524"/>
                  <a:gd name="connsiteX120" fmla="*/ 846987 w 4923398"/>
                  <a:gd name="connsiteY120" fmla="*/ 484601 h 1535524"/>
                  <a:gd name="connsiteX121" fmla="*/ 936318 w 4923398"/>
                  <a:gd name="connsiteY121" fmla="*/ 484601 h 1535524"/>
                  <a:gd name="connsiteX122" fmla="*/ 936318 w 4923398"/>
                  <a:gd name="connsiteY122" fmla="*/ 529128 h 1535524"/>
                  <a:gd name="connsiteX123" fmla="*/ 998873 w 4923398"/>
                  <a:gd name="connsiteY123" fmla="*/ 529128 h 1535524"/>
                  <a:gd name="connsiteX124" fmla="*/ 998873 w 4923398"/>
                  <a:gd name="connsiteY124" fmla="*/ 574455 h 1535524"/>
                  <a:gd name="connsiteX125" fmla="*/ 1201231 w 4923398"/>
                  <a:gd name="connsiteY125" fmla="*/ 574455 h 1535524"/>
                  <a:gd name="connsiteX126" fmla="*/ 1201231 w 4923398"/>
                  <a:gd name="connsiteY126" fmla="*/ 619649 h 1535524"/>
                  <a:gd name="connsiteX127" fmla="*/ 1248858 w 4923398"/>
                  <a:gd name="connsiteY127" fmla="*/ 619649 h 1535524"/>
                  <a:gd name="connsiteX128" fmla="*/ 1248858 w 4923398"/>
                  <a:gd name="connsiteY128" fmla="*/ 621649 h 1535524"/>
                  <a:gd name="connsiteX129" fmla="*/ 1430364 w 4923398"/>
                  <a:gd name="connsiteY129" fmla="*/ 621649 h 1535524"/>
                  <a:gd name="connsiteX130" fmla="*/ 1430364 w 4923398"/>
                  <a:gd name="connsiteY130" fmla="*/ 712170 h 1535524"/>
                  <a:gd name="connsiteX131" fmla="*/ 1454177 w 4923398"/>
                  <a:gd name="connsiteY131" fmla="*/ 712170 h 1535524"/>
                  <a:gd name="connsiteX132" fmla="*/ 1454177 w 4923398"/>
                  <a:gd name="connsiteY132" fmla="*/ 886946 h 1535524"/>
                  <a:gd name="connsiteX133" fmla="*/ 1525618 w 4923398"/>
                  <a:gd name="connsiteY133" fmla="*/ 886946 h 1535524"/>
                  <a:gd name="connsiteX134" fmla="*/ 1525618 w 4923398"/>
                  <a:gd name="connsiteY134" fmla="*/ 970268 h 1535524"/>
                  <a:gd name="connsiteX135" fmla="*/ 2177475 w 4923398"/>
                  <a:gd name="connsiteY135" fmla="*/ 970268 h 1535524"/>
                  <a:gd name="connsiteX136" fmla="*/ 2177475 w 4923398"/>
                  <a:gd name="connsiteY136" fmla="*/ 1051190 h 1535524"/>
                  <a:gd name="connsiteX137" fmla="*/ 2787627 w 4923398"/>
                  <a:gd name="connsiteY137" fmla="*/ 1051190 h 1535524"/>
                  <a:gd name="connsiteX138" fmla="*/ 2787627 w 4923398"/>
                  <a:gd name="connsiteY138" fmla="*/ 1135179 h 1535524"/>
                  <a:gd name="connsiteX139" fmla="*/ 2995909 w 4923398"/>
                  <a:gd name="connsiteY139" fmla="*/ 1135179 h 1535524"/>
                  <a:gd name="connsiteX140" fmla="*/ 2995909 w 4923398"/>
                  <a:gd name="connsiteY140" fmla="*/ 1216768 h 1535524"/>
                  <a:gd name="connsiteX141" fmla="*/ 3040574 w 4923398"/>
                  <a:gd name="connsiteY141" fmla="*/ 1216768 h 1535524"/>
                  <a:gd name="connsiteX142" fmla="*/ 3040574 w 4923398"/>
                  <a:gd name="connsiteY142" fmla="*/ 1251163 h 1535524"/>
                  <a:gd name="connsiteX143" fmla="*/ 4922451 w 4923398"/>
                  <a:gd name="connsiteY143" fmla="*/ 1534591 h 1535524"/>
                  <a:gd name="connsiteX144" fmla="*/ 1827614 w 4923398"/>
                  <a:gd name="connsiteY144" fmla="*/ 1534591 h 1535524"/>
                  <a:gd name="connsiteX145" fmla="*/ 1827614 w 4923398"/>
                  <a:gd name="connsiteY145" fmla="*/ 1485398 h 1535524"/>
                  <a:gd name="connsiteX146" fmla="*/ 1643028 w 4923398"/>
                  <a:gd name="connsiteY146" fmla="*/ 1485398 h 1535524"/>
                  <a:gd name="connsiteX147" fmla="*/ 1643028 w 4923398"/>
                  <a:gd name="connsiteY147" fmla="*/ 1435538 h 1535524"/>
                  <a:gd name="connsiteX148" fmla="*/ 1625257 w 4923398"/>
                  <a:gd name="connsiteY148" fmla="*/ 1435538 h 1535524"/>
                  <a:gd name="connsiteX149" fmla="*/ 1625257 w 4923398"/>
                  <a:gd name="connsiteY149" fmla="*/ 1384878 h 1535524"/>
                  <a:gd name="connsiteX150" fmla="*/ 1601443 w 4923398"/>
                  <a:gd name="connsiteY150" fmla="*/ 1384878 h 1535524"/>
                  <a:gd name="connsiteX151" fmla="*/ 1601443 w 4923398"/>
                  <a:gd name="connsiteY151" fmla="*/ 1333418 h 1535524"/>
                  <a:gd name="connsiteX152" fmla="*/ 1586515 w 4923398"/>
                  <a:gd name="connsiteY152" fmla="*/ 1333418 h 1535524"/>
                  <a:gd name="connsiteX153" fmla="*/ 1586515 w 4923398"/>
                  <a:gd name="connsiteY153" fmla="*/ 1281159 h 1535524"/>
                  <a:gd name="connsiteX154" fmla="*/ 1250161 w 4923398"/>
                  <a:gd name="connsiteY154" fmla="*/ 1281159 h 1535524"/>
                  <a:gd name="connsiteX155" fmla="*/ 1250161 w 4923398"/>
                  <a:gd name="connsiteY155" fmla="*/ 1228099 h 1535524"/>
                  <a:gd name="connsiteX156" fmla="*/ 1000058 w 4923398"/>
                  <a:gd name="connsiteY156" fmla="*/ 1228099 h 1535524"/>
                  <a:gd name="connsiteX157" fmla="*/ 1000058 w 4923398"/>
                  <a:gd name="connsiteY157" fmla="*/ 1176906 h 1535524"/>
                  <a:gd name="connsiteX158" fmla="*/ 937502 w 4923398"/>
                  <a:gd name="connsiteY158" fmla="*/ 1176906 h 1535524"/>
                  <a:gd name="connsiteX159" fmla="*/ 937502 w 4923398"/>
                  <a:gd name="connsiteY159" fmla="*/ 1125047 h 1535524"/>
                  <a:gd name="connsiteX160" fmla="*/ 848171 w 4923398"/>
                  <a:gd name="connsiteY160" fmla="*/ 1125047 h 1535524"/>
                  <a:gd name="connsiteX161" fmla="*/ 848171 w 4923398"/>
                  <a:gd name="connsiteY161" fmla="*/ 1072387 h 1535524"/>
                  <a:gd name="connsiteX162" fmla="*/ 770806 w 4923398"/>
                  <a:gd name="connsiteY162" fmla="*/ 1072387 h 1535524"/>
                  <a:gd name="connsiteX163" fmla="*/ 770806 w 4923398"/>
                  <a:gd name="connsiteY163" fmla="*/ 964802 h 1535524"/>
                  <a:gd name="connsiteX164" fmla="*/ 639890 w 4923398"/>
                  <a:gd name="connsiteY164" fmla="*/ 964802 h 1535524"/>
                  <a:gd name="connsiteX165" fmla="*/ 639890 w 4923398"/>
                  <a:gd name="connsiteY165" fmla="*/ 909743 h 1535524"/>
                  <a:gd name="connsiteX166" fmla="*/ 636928 w 4923398"/>
                  <a:gd name="connsiteY166" fmla="*/ 909743 h 1535524"/>
                  <a:gd name="connsiteX167" fmla="*/ 636928 w 4923398"/>
                  <a:gd name="connsiteY167" fmla="*/ 853884 h 1535524"/>
                  <a:gd name="connsiteX168" fmla="*/ 589301 w 4923398"/>
                  <a:gd name="connsiteY168" fmla="*/ 853884 h 1535524"/>
                  <a:gd name="connsiteX169" fmla="*/ 589301 w 4923398"/>
                  <a:gd name="connsiteY169" fmla="*/ 796958 h 1535524"/>
                  <a:gd name="connsiteX170" fmla="*/ 547597 w 4923398"/>
                  <a:gd name="connsiteY170" fmla="*/ 796958 h 1535524"/>
                  <a:gd name="connsiteX171" fmla="*/ 547597 w 4923398"/>
                  <a:gd name="connsiteY171" fmla="*/ 738966 h 1535524"/>
                  <a:gd name="connsiteX172" fmla="*/ 505894 w 4923398"/>
                  <a:gd name="connsiteY172" fmla="*/ 738966 h 1535524"/>
                  <a:gd name="connsiteX173" fmla="*/ 505894 w 4923398"/>
                  <a:gd name="connsiteY173" fmla="*/ 679774 h 1535524"/>
                  <a:gd name="connsiteX174" fmla="*/ 476156 w 4923398"/>
                  <a:gd name="connsiteY174" fmla="*/ 679774 h 1535524"/>
                  <a:gd name="connsiteX175" fmla="*/ 476156 w 4923398"/>
                  <a:gd name="connsiteY175" fmla="*/ 619249 h 1535524"/>
                  <a:gd name="connsiteX176" fmla="*/ 470232 w 4923398"/>
                  <a:gd name="connsiteY176" fmla="*/ 619249 h 1535524"/>
                  <a:gd name="connsiteX177" fmla="*/ 470232 w 4923398"/>
                  <a:gd name="connsiteY177" fmla="*/ 557257 h 1535524"/>
                  <a:gd name="connsiteX178" fmla="*/ 282684 w 4923398"/>
                  <a:gd name="connsiteY178" fmla="*/ 557257 h 1535524"/>
                  <a:gd name="connsiteX179" fmla="*/ 282684 w 4923398"/>
                  <a:gd name="connsiteY179" fmla="*/ 495533 h 1535524"/>
                  <a:gd name="connsiteX180" fmla="*/ 175463 w 4923398"/>
                  <a:gd name="connsiteY180" fmla="*/ 495533 h 1535524"/>
                  <a:gd name="connsiteX181" fmla="*/ 175463 w 4923398"/>
                  <a:gd name="connsiteY181" fmla="*/ 431808 h 1535524"/>
                  <a:gd name="connsiteX182" fmla="*/ 151650 w 4923398"/>
                  <a:gd name="connsiteY182" fmla="*/ 431808 h 1535524"/>
                  <a:gd name="connsiteX183" fmla="*/ 151650 w 4923398"/>
                  <a:gd name="connsiteY183" fmla="*/ 365417 h 1535524"/>
                  <a:gd name="connsiteX184" fmla="*/ 127836 w 4923398"/>
                  <a:gd name="connsiteY184" fmla="*/ 365417 h 1535524"/>
                  <a:gd name="connsiteX185" fmla="*/ 127836 w 4923398"/>
                  <a:gd name="connsiteY185" fmla="*/ 295560 h 1535524"/>
                  <a:gd name="connsiteX186" fmla="*/ 65280 w 4923398"/>
                  <a:gd name="connsiteY186" fmla="*/ 295560 h 1535524"/>
                  <a:gd name="connsiteX187" fmla="*/ 65280 w 4923398"/>
                  <a:gd name="connsiteY187" fmla="*/ 220370 h 1535524"/>
                  <a:gd name="connsiteX188" fmla="*/ 62318 w 4923398"/>
                  <a:gd name="connsiteY188" fmla="*/ 220370 h 1535524"/>
                  <a:gd name="connsiteX189" fmla="*/ 62318 w 4923398"/>
                  <a:gd name="connsiteY189" fmla="*/ 146780 h 1535524"/>
                  <a:gd name="connsiteX190" fmla="*/ 65280 w 4923398"/>
                  <a:gd name="connsiteY190" fmla="*/ 147580 h 1535524"/>
                  <a:gd name="connsiteX191" fmla="*/ 121438 w 4923398"/>
                  <a:gd name="connsiteY191" fmla="*/ 147580 h 1535524"/>
                  <a:gd name="connsiteX192" fmla="*/ 121438 w 4923398"/>
                  <a:gd name="connsiteY192" fmla="*/ 189574 h 1535524"/>
                  <a:gd name="connsiteX193" fmla="*/ 123334 w 4923398"/>
                  <a:gd name="connsiteY193" fmla="*/ 194640 h 1535524"/>
                  <a:gd name="connsiteX194" fmla="*/ 127836 w 4923398"/>
                  <a:gd name="connsiteY194" fmla="*/ 196773 h 1535524"/>
                  <a:gd name="connsiteX195" fmla="*/ 145370 w 4923398"/>
                  <a:gd name="connsiteY195" fmla="*/ 196773 h 1535524"/>
                  <a:gd name="connsiteX196" fmla="*/ 145370 w 4923398"/>
                  <a:gd name="connsiteY196" fmla="*/ 238767 h 1535524"/>
                  <a:gd name="connsiteX197" fmla="*/ 147266 w 4923398"/>
                  <a:gd name="connsiteY197" fmla="*/ 243833 h 1535524"/>
                  <a:gd name="connsiteX198" fmla="*/ 151768 w 4923398"/>
                  <a:gd name="connsiteY198" fmla="*/ 245967 h 1535524"/>
                  <a:gd name="connsiteX199" fmla="*/ 169184 w 4923398"/>
                  <a:gd name="connsiteY199" fmla="*/ 245967 h 1535524"/>
                  <a:gd name="connsiteX200" fmla="*/ 169184 w 4923398"/>
                  <a:gd name="connsiteY200" fmla="*/ 287961 h 1535524"/>
                  <a:gd name="connsiteX201" fmla="*/ 171080 w 4923398"/>
                  <a:gd name="connsiteY201" fmla="*/ 293027 h 1535524"/>
                  <a:gd name="connsiteX202" fmla="*/ 175582 w 4923398"/>
                  <a:gd name="connsiteY202" fmla="*/ 295160 h 1535524"/>
                  <a:gd name="connsiteX203" fmla="*/ 276405 w 4923398"/>
                  <a:gd name="connsiteY203" fmla="*/ 295160 h 1535524"/>
                  <a:gd name="connsiteX204" fmla="*/ 276405 w 4923398"/>
                  <a:gd name="connsiteY204" fmla="*/ 337154 h 1535524"/>
                  <a:gd name="connsiteX205" fmla="*/ 278301 w 4923398"/>
                  <a:gd name="connsiteY205" fmla="*/ 342220 h 1535524"/>
                  <a:gd name="connsiteX206" fmla="*/ 282803 w 4923398"/>
                  <a:gd name="connsiteY206" fmla="*/ 344353 h 1535524"/>
                  <a:gd name="connsiteX207" fmla="*/ 463953 w 4923398"/>
                  <a:gd name="connsiteY207" fmla="*/ 344353 h 1535524"/>
                  <a:gd name="connsiteX208" fmla="*/ 463953 w 4923398"/>
                  <a:gd name="connsiteY208" fmla="*/ 387681 h 1535524"/>
                  <a:gd name="connsiteX209" fmla="*/ 465849 w 4923398"/>
                  <a:gd name="connsiteY209" fmla="*/ 392747 h 1535524"/>
                  <a:gd name="connsiteX210" fmla="*/ 469995 w 4923398"/>
                  <a:gd name="connsiteY210" fmla="*/ 394880 h 1535524"/>
                  <a:gd name="connsiteX211" fmla="*/ 469995 w 4923398"/>
                  <a:gd name="connsiteY211" fmla="*/ 438207 h 1535524"/>
                  <a:gd name="connsiteX212" fmla="*/ 471891 w 4923398"/>
                  <a:gd name="connsiteY212" fmla="*/ 443273 h 1535524"/>
                  <a:gd name="connsiteX213" fmla="*/ 476393 w 4923398"/>
                  <a:gd name="connsiteY213" fmla="*/ 445406 h 1535524"/>
                  <a:gd name="connsiteX214" fmla="*/ 499851 w 4923398"/>
                  <a:gd name="connsiteY214" fmla="*/ 445406 h 1535524"/>
                  <a:gd name="connsiteX215" fmla="*/ 499851 w 4923398"/>
                  <a:gd name="connsiteY215" fmla="*/ 488733 h 1535524"/>
                  <a:gd name="connsiteX216" fmla="*/ 501747 w 4923398"/>
                  <a:gd name="connsiteY216" fmla="*/ 493799 h 1535524"/>
                  <a:gd name="connsiteX217" fmla="*/ 506249 w 4923398"/>
                  <a:gd name="connsiteY217" fmla="*/ 495932 h 1535524"/>
                  <a:gd name="connsiteX218" fmla="*/ 541555 w 4923398"/>
                  <a:gd name="connsiteY218" fmla="*/ 495932 h 1535524"/>
                  <a:gd name="connsiteX219" fmla="*/ 541555 w 4923398"/>
                  <a:gd name="connsiteY219" fmla="*/ 539260 h 1535524"/>
                  <a:gd name="connsiteX220" fmla="*/ 543450 w 4923398"/>
                  <a:gd name="connsiteY220" fmla="*/ 544326 h 1535524"/>
                  <a:gd name="connsiteX221" fmla="*/ 547953 w 4923398"/>
                  <a:gd name="connsiteY221" fmla="*/ 546459 h 1535524"/>
                  <a:gd name="connsiteX222" fmla="*/ 583259 w 4923398"/>
                  <a:gd name="connsiteY222" fmla="*/ 546459 h 1535524"/>
                  <a:gd name="connsiteX223" fmla="*/ 583259 w 4923398"/>
                  <a:gd name="connsiteY223" fmla="*/ 589786 h 1535524"/>
                  <a:gd name="connsiteX224" fmla="*/ 585154 w 4923398"/>
                  <a:gd name="connsiteY224" fmla="*/ 594852 h 1535524"/>
                  <a:gd name="connsiteX225" fmla="*/ 589656 w 4923398"/>
                  <a:gd name="connsiteY225" fmla="*/ 596985 h 1535524"/>
                  <a:gd name="connsiteX226" fmla="*/ 630886 w 4923398"/>
                  <a:gd name="connsiteY226" fmla="*/ 596985 h 1535524"/>
                  <a:gd name="connsiteX227" fmla="*/ 630886 w 4923398"/>
                  <a:gd name="connsiteY227" fmla="*/ 640446 h 1535524"/>
                  <a:gd name="connsiteX228" fmla="*/ 632782 w 4923398"/>
                  <a:gd name="connsiteY228" fmla="*/ 645512 h 1535524"/>
                  <a:gd name="connsiteX229" fmla="*/ 633966 w 4923398"/>
                  <a:gd name="connsiteY229" fmla="*/ 646445 h 1535524"/>
                  <a:gd name="connsiteX230" fmla="*/ 633966 w 4923398"/>
                  <a:gd name="connsiteY230" fmla="*/ 690839 h 1535524"/>
                  <a:gd name="connsiteX231" fmla="*/ 635862 w 4923398"/>
                  <a:gd name="connsiteY231" fmla="*/ 695905 h 1535524"/>
                  <a:gd name="connsiteX232" fmla="*/ 640364 w 4923398"/>
                  <a:gd name="connsiteY232" fmla="*/ 698038 h 1535524"/>
                  <a:gd name="connsiteX233" fmla="*/ 765001 w 4923398"/>
                  <a:gd name="connsiteY233" fmla="*/ 698038 h 1535524"/>
                  <a:gd name="connsiteX234" fmla="*/ 765001 w 4923398"/>
                  <a:gd name="connsiteY234" fmla="*/ 791892 h 1535524"/>
                  <a:gd name="connsiteX235" fmla="*/ 766897 w 4923398"/>
                  <a:gd name="connsiteY235" fmla="*/ 796958 h 1535524"/>
                  <a:gd name="connsiteX236" fmla="*/ 771399 w 4923398"/>
                  <a:gd name="connsiteY236" fmla="*/ 799091 h 1535524"/>
                  <a:gd name="connsiteX237" fmla="*/ 842484 w 4923398"/>
                  <a:gd name="connsiteY237" fmla="*/ 799091 h 1535524"/>
                  <a:gd name="connsiteX238" fmla="*/ 842484 w 4923398"/>
                  <a:gd name="connsiteY238" fmla="*/ 842419 h 1535524"/>
                  <a:gd name="connsiteX239" fmla="*/ 844380 w 4923398"/>
                  <a:gd name="connsiteY239" fmla="*/ 847485 h 1535524"/>
                  <a:gd name="connsiteX240" fmla="*/ 848882 w 4923398"/>
                  <a:gd name="connsiteY240" fmla="*/ 849618 h 1535524"/>
                  <a:gd name="connsiteX241" fmla="*/ 931816 w 4923398"/>
                  <a:gd name="connsiteY241" fmla="*/ 849618 h 1535524"/>
                  <a:gd name="connsiteX242" fmla="*/ 931816 w 4923398"/>
                  <a:gd name="connsiteY242" fmla="*/ 892945 h 1535524"/>
                  <a:gd name="connsiteX243" fmla="*/ 933711 w 4923398"/>
                  <a:gd name="connsiteY243" fmla="*/ 898011 h 1535524"/>
                  <a:gd name="connsiteX244" fmla="*/ 938213 w 4923398"/>
                  <a:gd name="connsiteY244" fmla="*/ 900144 h 1535524"/>
                  <a:gd name="connsiteX245" fmla="*/ 994371 w 4923398"/>
                  <a:gd name="connsiteY245" fmla="*/ 900144 h 1535524"/>
                  <a:gd name="connsiteX246" fmla="*/ 994371 w 4923398"/>
                  <a:gd name="connsiteY246" fmla="*/ 943471 h 1535524"/>
                  <a:gd name="connsiteX247" fmla="*/ 996267 w 4923398"/>
                  <a:gd name="connsiteY247" fmla="*/ 948537 h 1535524"/>
                  <a:gd name="connsiteX248" fmla="*/ 1000769 w 4923398"/>
                  <a:gd name="connsiteY248" fmla="*/ 950670 h 1535524"/>
                  <a:gd name="connsiteX249" fmla="*/ 1244474 w 4923398"/>
                  <a:gd name="connsiteY249" fmla="*/ 950670 h 1535524"/>
                  <a:gd name="connsiteX250" fmla="*/ 1244474 w 4923398"/>
                  <a:gd name="connsiteY250" fmla="*/ 996131 h 1535524"/>
                  <a:gd name="connsiteX251" fmla="*/ 1246370 w 4923398"/>
                  <a:gd name="connsiteY251" fmla="*/ 1001197 h 1535524"/>
                  <a:gd name="connsiteX252" fmla="*/ 1250872 w 4923398"/>
                  <a:gd name="connsiteY252" fmla="*/ 1003330 h 1535524"/>
                  <a:gd name="connsiteX253" fmla="*/ 1580828 w 4923398"/>
                  <a:gd name="connsiteY253" fmla="*/ 1003330 h 1535524"/>
                  <a:gd name="connsiteX254" fmla="*/ 1580828 w 4923398"/>
                  <a:gd name="connsiteY254" fmla="*/ 1048790 h 1535524"/>
                  <a:gd name="connsiteX255" fmla="*/ 1582724 w 4923398"/>
                  <a:gd name="connsiteY255" fmla="*/ 1053857 h 1535524"/>
                  <a:gd name="connsiteX256" fmla="*/ 1587226 w 4923398"/>
                  <a:gd name="connsiteY256" fmla="*/ 1055990 h 1535524"/>
                  <a:gd name="connsiteX257" fmla="*/ 1595756 w 4923398"/>
                  <a:gd name="connsiteY257" fmla="*/ 1055990 h 1535524"/>
                  <a:gd name="connsiteX258" fmla="*/ 1595756 w 4923398"/>
                  <a:gd name="connsiteY258" fmla="*/ 1101450 h 1535524"/>
                  <a:gd name="connsiteX259" fmla="*/ 1597652 w 4923398"/>
                  <a:gd name="connsiteY259" fmla="*/ 1106516 h 1535524"/>
                  <a:gd name="connsiteX260" fmla="*/ 1602154 w 4923398"/>
                  <a:gd name="connsiteY260" fmla="*/ 1108649 h 1535524"/>
                  <a:gd name="connsiteX261" fmla="*/ 1619689 w 4923398"/>
                  <a:gd name="connsiteY261" fmla="*/ 1108649 h 1535524"/>
                  <a:gd name="connsiteX262" fmla="*/ 1619689 w 4923398"/>
                  <a:gd name="connsiteY262" fmla="*/ 1153976 h 1535524"/>
                  <a:gd name="connsiteX263" fmla="*/ 1621584 w 4923398"/>
                  <a:gd name="connsiteY263" fmla="*/ 1159042 h 1535524"/>
                  <a:gd name="connsiteX264" fmla="*/ 1626086 w 4923398"/>
                  <a:gd name="connsiteY264" fmla="*/ 1161175 h 1535524"/>
                  <a:gd name="connsiteX265" fmla="*/ 1637579 w 4923398"/>
                  <a:gd name="connsiteY265" fmla="*/ 1161175 h 1535524"/>
                  <a:gd name="connsiteX266" fmla="*/ 1637579 w 4923398"/>
                  <a:gd name="connsiteY266" fmla="*/ 1206636 h 1535524"/>
                  <a:gd name="connsiteX267" fmla="*/ 1639474 w 4923398"/>
                  <a:gd name="connsiteY267" fmla="*/ 1211702 h 1535524"/>
                  <a:gd name="connsiteX268" fmla="*/ 1643976 w 4923398"/>
                  <a:gd name="connsiteY268" fmla="*/ 1213835 h 1535524"/>
                  <a:gd name="connsiteX269" fmla="*/ 1822165 w 4923398"/>
                  <a:gd name="connsiteY269" fmla="*/ 1213835 h 1535524"/>
                  <a:gd name="connsiteX270" fmla="*/ 1822165 w 4923398"/>
                  <a:gd name="connsiteY270" fmla="*/ 1259295 h 1535524"/>
                  <a:gd name="connsiteX271" fmla="*/ 1824060 w 4923398"/>
                  <a:gd name="connsiteY271" fmla="*/ 1264361 h 1535524"/>
                  <a:gd name="connsiteX272" fmla="*/ 1828562 w 4923398"/>
                  <a:gd name="connsiteY272" fmla="*/ 1266494 h 1535524"/>
                  <a:gd name="connsiteX273" fmla="*/ 3042943 w 4923398"/>
                  <a:gd name="connsiteY273" fmla="*/ 1266494 h 1535524"/>
                  <a:gd name="connsiteX274" fmla="*/ 3042943 w 4923398"/>
                  <a:gd name="connsiteY274" fmla="*/ 1297157 h 1535524"/>
                  <a:gd name="connsiteX275" fmla="*/ 3227530 w 4923398"/>
                  <a:gd name="connsiteY275" fmla="*/ 1297157 h 1535524"/>
                  <a:gd name="connsiteX276" fmla="*/ 3227530 w 4923398"/>
                  <a:gd name="connsiteY276" fmla="*/ 1374346 h 1535524"/>
                  <a:gd name="connsiteX277" fmla="*/ 4923398 w 4923398"/>
                  <a:gd name="connsiteY277" fmla="*/ 1374346 h 1535524"/>
                  <a:gd name="connsiteX278" fmla="*/ 4923398 w 4923398"/>
                  <a:gd name="connsiteY278" fmla="*/ 1535524 h 1535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4923398" h="1535524">
                    <a:moveTo>
                      <a:pt x="59120" y="135315"/>
                    </a:moveTo>
                    <a:lnTo>
                      <a:pt x="0" y="135315"/>
                    </a:lnTo>
                    <a:lnTo>
                      <a:pt x="0" y="49193"/>
                    </a:lnTo>
                    <a:lnTo>
                      <a:pt x="56158" y="49193"/>
                    </a:lnTo>
                    <a:lnTo>
                      <a:pt x="56158" y="91188"/>
                    </a:lnTo>
                    <a:cubicBezTo>
                      <a:pt x="56158" y="93054"/>
                      <a:pt x="56869" y="94920"/>
                      <a:pt x="58053" y="96254"/>
                    </a:cubicBezTo>
                    <a:cubicBezTo>
                      <a:pt x="58409" y="96653"/>
                      <a:pt x="58764" y="96920"/>
                      <a:pt x="59238" y="97320"/>
                    </a:cubicBezTo>
                    <a:lnTo>
                      <a:pt x="59238" y="135315"/>
                    </a:lnTo>
                    <a:moveTo>
                      <a:pt x="3041996" y="1251296"/>
                    </a:moveTo>
                    <a:lnTo>
                      <a:pt x="1833894" y="1251296"/>
                    </a:lnTo>
                    <a:lnTo>
                      <a:pt x="1833894" y="1205836"/>
                    </a:lnTo>
                    <a:cubicBezTo>
                      <a:pt x="1833894" y="1203969"/>
                      <a:pt x="1833183" y="1202103"/>
                      <a:pt x="1831998" y="1200770"/>
                    </a:cubicBezTo>
                    <a:cubicBezTo>
                      <a:pt x="1830813" y="1199437"/>
                      <a:pt x="1829155" y="1198637"/>
                      <a:pt x="1827496" y="1198637"/>
                    </a:cubicBezTo>
                    <a:lnTo>
                      <a:pt x="1649308" y="1198637"/>
                    </a:lnTo>
                    <a:lnTo>
                      <a:pt x="1649308" y="1153176"/>
                    </a:lnTo>
                    <a:cubicBezTo>
                      <a:pt x="1649308" y="1151310"/>
                      <a:pt x="1648597" y="1149443"/>
                      <a:pt x="1647412" y="1148110"/>
                    </a:cubicBezTo>
                    <a:cubicBezTo>
                      <a:pt x="1646227" y="1146777"/>
                      <a:pt x="1644569" y="1145977"/>
                      <a:pt x="1642910" y="1145977"/>
                    </a:cubicBezTo>
                    <a:lnTo>
                      <a:pt x="1631418" y="1145977"/>
                    </a:lnTo>
                    <a:lnTo>
                      <a:pt x="1631418" y="1100650"/>
                    </a:lnTo>
                    <a:cubicBezTo>
                      <a:pt x="1631418" y="1098784"/>
                      <a:pt x="1630707" y="1096917"/>
                      <a:pt x="1629522" y="1095584"/>
                    </a:cubicBezTo>
                    <a:cubicBezTo>
                      <a:pt x="1628337" y="1094251"/>
                      <a:pt x="1626679" y="1093451"/>
                      <a:pt x="1625020" y="1093451"/>
                    </a:cubicBezTo>
                    <a:lnTo>
                      <a:pt x="1607486" y="1093451"/>
                    </a:lnTo>
                    <a:lnTo>
                      <a:pt x="1607486" y="1047991"/>
                    </a:lnTo>
                    <a:cubicBezTo>
                      <a:pt x="1607486" y="1046124"/>
                      <a:pt x="1606775" y="1044258"/>
                      <a:pt x="1605590" y="1042925"/>
                    </a:cubicBezTo>
                    <a:cubicBezTo>
                      <a:pt x="1604405" y="1041591"/>
                      <a:pt x="1602747" y="1040792"/>
                      <a:pt x="1601088" y="1040792"/>
                    </a:cubicBezTo>
                    <a:lnTo>
                      <a:pt x="1592558" y="1040792"/>
                    </a:lnTo>
                    <a:lnTo>
                      <a:pt x="1592558" y="995331"/>
                    </a:lnTo>
                    <a:cubicBezTo>
                      <a:pt x="1592558" y="993465"/>
                      <a:pt x="1591847" y="991598"/>
                      <a:pt x="1590662" y="990265"/>
                    </a:cubicBezTo>
                    <a:cubicBezTo>
                      <a:pt x="1589477" y="988932"/>
                      <a:pt x="1587818" y="988132"/>
                      <a:pt x="1586160" y="988132"/>
                    </a:cubicBezTo>
                    <a:lnTo>
                      <a:pt x="1256204" y="988132"/>
                    </a:lnTo>
                    <a:lnTo>
                      <a:pt x="1256204" y="942672"/>
                    </a:lnTo>
                    <a:cubicBezTo>
                      <a:pt x="1256204" y="940805"/>
                      <a:pt x="1255493" y="938939"/>
                      <a:pt x="1254308" y="937606"/>
                    </a:cubicBezTo>
                    <a:cubicBezTo>
                      <a:pt x="1253123" y="936273"/>
                      <a:pt x="1251464" y="935473"/>
                      <a:pt x="1249806" y="935473"/>
                    </a:cubicBezTo>
                    <a:lnTo>
                      <a:pt x="1006100" y="935473"/>
                    </a:lnTo>
                    <a:lnTo>
                      <a:pt x="1006100" y="892145"/>
                    </a:lnTo>
                    <a:cubicBezTo>
                      <a:pt x="1006100" y="890279"/>
                      <a:pt x="1005389" y="888412"/>
                      <a:pt x="1004205" y="887079"/>
                    </a:cubicBezTo>
                    <a:cubicBezTo>
                      <a:pt x="1003020" y="885746"/>
                      <a:pt x="1001361" y="884946"/>
                      <a:pt x="999702" y="884946"/>
                    </a:cubicBezTo>
                    <a:lnTo>
                      <a:pt x="943545" y="884946"/>
                    </a:lnTo>
                    <a:lnTo>
                      <a:pt x="943545" y="841619"/>
                    </a:lnTo>
                    <a:cubicBezTo>
                      <a:pt x="943545" y="839752"/>
                      <a:pt x="942834" y="837886"/>
                      <a:pt x="941649" y="836553"/>
                    </a:cubicBezTo>
                    <a:cubicBezTo>
                      <a:pt x="940464" y="835220"/>
                      <a:pt x="938806" y="834420"/>
                      <a:pt x="937147" y="834420"/>
                    </a:cubicBezTo>
                    <a:lnTo>
                      <a:pt x="854214" y="834420"/>
                    </a:lnTo>
                    <a:lnTo>
                      <a:pt x="854214" y="791092"/>
                    </a:lnTo>
                    <a:cubicBezTo>
                      <a:pt x="854214" y="789226"/>
                      <a:pt x="853503" y="787359"/>
                      <a:pt x="852318" y="786026"/>
                    </a:cubicBezTo>
                    <a:cubicBezTo>
                      <a:pt x="851133" y="784693"/>
                      <a:pt x="849475" y="783893"/>
                      <a:pt x="847816" y="783893"/>
                    </a:cubicBezTo>
                    <a:lnTo>
                      <a:pt x="776730" y="783893"/>
                    </a:lnTo>
                    <a:lnTo>
                      <a:pt x="776730" y="690039"/>
                    </a:lnTo>
                    <a:cubicBezTo>
                      <a:pt x="776730" y="688173"/>
                      <a:pt x="776019" y="686307"/>
                      <a:pt x="774835" y="684973"/>
                    </a:cubicBezTo>
                    <a:cubicBezTo>
                      <a:pt x="773650" y="683640"/>
                      <a:pt x="771991" y="682840"/>
                      <a:pt x="770332" y="682840"/>
                    </a:cubicBezTo>
                    <a:lnTo>
                      <a:pt x="645695" y="682840"/>
                    </a:lnTo>
                    <a:lnTo>
                      <a:pt x="645695" y="639513"/>
                    </a:lnTo>
                    <a:cubicBezTo>
                      <a:pt x="645695" y="637647"/>
                      <a:pt x="644985" y="635780"/>
                      <a:pt x="643800" y="634447"/>
                    </a:cubicBezTo>
                    <a:cubicBezTo>
                      <a:pt x="643444" y="634047"/>
                      <a:pt x="643089" y="633780"/>
                      <a:pt x="642615" y="633380"/>
                    </a:cubicBezTo>
                    <a:lnTo>
                      <a:pt x="642615" y="588853"/>
                    </a:lnTo>
                    <a:cubicBezTo>
                      <a:pt x="642615" y="586987"/>
                      <a:pt x="641904" y="585120"/>
                      <a:pt x="640719" y="583787"/>
                    </a:cubicBezTo>
                    <a:cubicBezTo>
                      <a:pt x="639535" y="582454"/>
                      <a:pt x="637876" y="581654"/>
                      <a:pt x="636217" y="581654"/>
                    </a:cubicBezTo>
                    <a:lnTo>
                      <a:pt x="594988" y="581654"/>
                    </a:lnTo>
                    <a:lnTo>
                      <a:pt x="594988" y="538327"/>
                    </a:lnTo>
                    <a:cubicBezTo>
                      <a:pt x="594988" y="536460"/>
                      <a:pt x="594277" y="534594"/>
                      <a:pt x="593092" y="533261"/>
                    </a:cubicBezTo>
                    <a:cubicBezTo>
                      <a:pt x="591907" y="531928"/>
                      <a:pt x="590249" y="531128"/>
                      <a:pt x="588590" y="531128"/>
                    </a:cubicBezTo>
                    <a:lnTo>
                      <a:pt x="553284" y="531128"/>
                    </a:lnTo>
                    <a:lnTo>
                      <a:pt x="553284" y="487800"/>
                    </a:lnTo>
                    <a:cubicBezTo>
                      <a:pt x="553284" y="485934"/>
                      <a:pt x="552573" y="484067"/>
                      <a:pt x="551388" y="482734"/>
                    </a:cubicBezTo>
                    <a:cubicBezTo>
                      <a:pt x="550204" y="481401"/>
                      <a:pt x="548545" y="480601"/>
                      <a:pt x="546886" y="480601"/>
                    </a:cubicBezTo>
                    <a:lnTo>
                      <a:pt x="511580" y="480601"/>
                    </a:lnTo>
                    <a:lnTo>
                      <a:pt x="511580" y="437274"/>
                    </a:lnTo>
                    <a:cubicBezTo>
                      <a:pt x="511580" y="435407"/>
                      <a:pt x="510870" y="433541"/>
                      <a:pt x="509685" y="432208"/>
                    </a:cubicBezTo>
                    <a:cubicBezTo>
                      <a:pt x="508500" y="430875"/>
                      <a:pt x="506841" y="430075"/>
                      <a:pt x="505183" y="430075"/>
                    </a:cubicBezTo>
                    <a:lnTo>
                      <a:pt x="481724" y="430075"/>
                    </a:lnTo>
                    <a:lnTo>
                      <a:pt x="481724" y="386747"/>
                    </a:lnTo>
                    <a:cubicBezTo>
                      <a:pt x="481724" y="384881"/>
                      <a:pt x="481013" y="383014"/>
                      <a:pt x="479829" y="381681"/>
                    </a:cubicBezTo>
                    <a:cubicBezTo>
                      <a:pt x="478762" y="380482"/>
                      <a:pt x="477222" y="379682"/>
                      <a:pt x="475682" y="379548"/>
                    </a:cubicBezTo>
                    <a:lnTo>
                      <a:pt x="475682" y="336088"/>
                    </a:lnTo>
                    <a:cubicBezTo>
                      <a:pt x="475682" y="334221"/>
                      <a:pt x="474971" y="332355"/>
                      <a:pt x="473786" y="331022"/>
                    </a:cubicBezTo>
                    <a:cubicBezTo>
                      <a:pt x="472602" y="329688"/>
                      <a:pt x="470943" y="328889"/>
                      <a:pt x="469284" y="328889"/>
                    </a:cubicBezTo>
                    <a:lnTo>
                      <a:pt x="288134" y="328889"/>
                    </a:lnTo>
                    <a:lnTo>
                      <a:pt x="288134" y="286894"/>
                    </a:lnTo>
                    <a:cubicBezTo>
                      <a:pt x="288134" y="285028"/>
                      <a:pt x="287423" y="283161"/>
                      <a:pt x="286239" y="281828"/>
                    </a:cubicBezTo>
                    <a:cubicBezTo>
                      <a:pt x="285054" y="280495"/>
                      <a:pt x="283395" y="279695"/>
                      <a:pt x="281736" y="279695"/>
                    </a:cubicBezTo>
                    <a:lnTo>
                      <a:pt x="180913" y="279695"/>
                    </a:lnTo>
                    <a:lnTo>
                      <a:pt x="180913" y="237701"/>
                    </a:lnTo>
                    <a:cubicBezTo>
                      <a:pt x="180913" y="235835"/>
                      <a:pt x="180202" y="233968"/>
                      <a:pt x="179018" y="232635"/>
                    </a:cubicBezTo>
                    <a:cubicBezTo>
                      <a:pt x="177833" y="231302"/>
                      <a:pt x="176174" y="230502"/>
                      <a:pt x="174515" y="230502"/>
                    </a:cubicBezTo>
                    <a:lnTo>
                      <a:pt x="157099" y="230502"/>
                    </a:lnTo>
                    <a:lnTo>
                      <a:pt x="157099" y="188508"/>
                    </a:lnTo>
                    <a:cubicBezTo>
                      <a:pt x="157099" y="186641"/>
                      <a:pt x="156389" y="184775"/>
                      <a:pt x="155204" y="183442"/>
                    </a:cubicBezTo>
                    <a:cubicBezTo>
                      <a:pt x="154019" y="182109"/>
                      <a:pt x="152360" y="181309"/>
                      <a:pt x="150702" y="181309"/>
                    </a:cubicBezTo>
                    <a:lnTo>
                      <a:pt x="133167" y="181309"/>
                    </a:lnTo>
                    <a:lnTo>
                      <a:pt x="133167" y="139314"/>
                    </a:lnTo>
                    <a:cubicBezTo>
                      <a:pt x="133167" y="137448"/>
                      <a:pt x="132456" y="135582"/>
                      <a:pt x="131272" y="134248"/>
                    </a:cubicBezTo>
                    <a:cubicBezTo>
                      <a:pt x="130087" y="132915"/>
                      <a:pt x="128428" y="132115"/>
                      <a:pt x="126770" y="132115"/>
                    </a:cubicBezTo>
                    <a:lnTo>
                      <a:pt x="70612" y="132115"/>
                    </a:lnTo>
                    <a:lnTo>
                      <a:pt x="70612" y="89988"/>
                    </a:lnTo>
                    <a:cubicBezTo>
                      <a:pt x="70612" y="88121"/>
                      <a:pt x="69901" y="86255"/>
                      <a:pt x="68716" y="84922"/>
                    </a:cubicBezTo>
                    <a:cubicBezTo>
                      <a:pt x="68361" y="84522"/>
                      <a:pt x="68005" y="84255"/>
                      <a:pt x="67531" y="83855"/>
                    </a:cubicBezTo>
                    <a:lnTo>
                      <a:pt x="67531" y="40794"/>
                    </a:lnTo>
                    <a:cubicBezTo>
                      <a:pt x="67531" y="38928"/>
                      <a:pt x="66821" y="37062"/>
                      <a:pt x="65636" y="35728"/>
                    </a:cubicBezTo>
                    <a:cubicBezTo>
                      <a:pt x="64451" y="34395"/>
                      <a:pt x="62792" y="33595"/>
                      <a:pt x="61134" y="33595"/>
                    </a:cubicBezTo>
                    <a:lnTo>
                      <a:pt x="4976" y="33595"/>
                    </a:lnTo>
                    <a:lnTo>
                      <a:pt x="4976" y="0"/>
                    </a:lnTo>
                    <a:lnTo>
                      <a:pt x="150465" y="0"/>
                    </a:lnTo>
                    <a:lnTo>
                      <a:pt x="150465" y="24663"/>
                    </a:lnTo>
                    <a:lnTo>
                      <a:pt x="174279" y="24663"/>
                    </a:lnTo>
                    <a:lnTo>
                      <a:pt x="174279" y="55059"/>
                    </a:lnTo>
                    <a:lnTo>
                      <a:pt x="194775" y="55059"/>
                    </a:lnTo>
                    <a:lnTo>
                      <a:pt x="194775" y="64258"/>
                    </a:lnTo>
                    <a:cubicBezTo>
                      <a:pt x="194775" y="66124"/>
                      <a:pt x="195486" y="67991"/>
                      <a:pt x="196671" y="69324"/>
                    </a:cubicBezTo>
                    <a:cubicBezTo>
                      <a:pt x="197855" y="70657"/>
                      <a:pt x="199514" y="71457"/>
                      <a:pt x="201173" y="71457"/>
                    </a:cubicBezTo>
                    <a:lnTo>
                      <a:pt x="201173" y="197573"/>
                    </a:lnTo>
                    <a:lnTo>
                      <a:pt x="546412" y="197573"/>
                    </a:lnTo>
                    <a:lnTo>
                      <a:pt x="546412" y="233702"/>
                    </a:lnTo>
                    <a:lnTo>
                      <a:pt x="588116" y="233702"/>
                    </a:lnTo>
                    <a:lnTo>
                      <a:pt x="588116" y="273296"/>
                    </a:lnTo>
                    <a:lnTo>
                      <a:pt x="635743" y="273296"/>
                    </a:lnTo>
                    <a:lnTo>
                      <a:pt x="635743" y="313824"/>
                    </a:lnTo>
                    <a:lnTo>
                      <a:pt x="638705" y="313824"/>
                    </a:lnTo>
                    <a:lnTo>
                      <a:pt x="638705" y="355285"/>
                    </a:lnTo>
                    <a:lnTo>
                      <a:pt x="769622" y="355285"/>
                    </a:lnTo>
                    <a:lnTo>
                      <a:pt x="769622" y="440740"/>
                    </a:lnTo>
                    <a:lnTo>
                      <a:pt x="846987" y="440740"/>
                    </a:lnTo>
                    <a:lnTo>
                      <a:pt x="846987" y="484601"/>
                    </a:lnTo>
                    <a:lnTo>
                      <a:pt x="936318" y="484601"/>
                    </a:lnTo>
                    <a:lnTo>
                      <a:pt x="936318" y="529128"/>
                    </a:lnTo>
                    <a:lnTo>
                      <a:pt x="998873" y="529128"/>
                    </a:lnTo>
                    <a:lnTo>
                      <a:pt x="998873" y="574455"/>
                    </a:lnTo>
                    <a:lnTo>
                      <a:pt x="1201231" y="574455"/>
                    </a:lnTo>
                    <a:lnTo>
                      <a:pt x="1201231" y="619649"/>
                    </a:lnTo>
                    <a:lnTo>
                      <a:pt x="1248858" y="619649"/>
                    </a:lnTo>
                    <a:lnTo>
                      <a:pt x="1248858" y="621649"/>
                    </a:lnTo>
                    <a:lnTo>
                      <a:pt x="1430364" y="621649"/>
                    </a:lnTo>
                    <a:lnTo>
                      <a:pt x="1430364" y="712170"/>
                    </a:lnTo>
                    <a:lnTo>
                      <a:pt x="1454177" y="712170"/>
                    </a:lnTo>
                    <a:lnTo>
                      <a:pt x="1454177" y="886946"/>
                    </a:lnTo>
                    <a:lnTo>
                      <a:pt x="1525618" y="886946"/>
                    </a:lnTo>
                    <a:lnTo>
                      <a:pt x="1525618" y="970268"/>
                    </a:lnTo>
                    <a:lnTo>
                      <a:pt x="2177475" y="970268"/>
                    </a:lnTo>
                    <a:lnTo>
                      <a:pt x="2177475" y="1051190"/>
                    </a:lnTo>
                    <a:lnTo>
                      <a:pt x="2787627" y="1051190"/>
                    </a:lnTo>
                    <a:lnTo>
                      <a:pt x="2787627" y="1135179"/>
                    </a:lnTo>
                    <a:lnTo>
                      <a:pt x="2995909" y="1135179"/>
                    </a:lnTo>
                    <a:lnTo>
                      <a:pt x="2995909" y="1216768"/>
                    </a:lnTo>
                    <a:lnTo>
                      <a:pt x="3040574" y="1216768"/>
                    </a:lnTo>
                    <a:lnTo>
                      <a:pt x="3040574" y="1251163"/>
                    </a:lnTo>
                    <a:moveTo>
                      <a:pt x="4922451" y="1534591"/>
                    </a:moveTo>
                    <a:lnTo>
                      <a:pt x="1827614" y="1534591"/>
                    </a:lnTo>
                    <a:lnTo>
                      <a:pt x="1827614" y="1485398"/>
                    </a:lnTo>
                    <a:lnTo>
                      <a:pt x="1643028" y="1485398"/>
                    </a:lnTo>
                    <a:lnTo>
                      <a:pt x="1643028" y="1435538"/>
                    </a:lnTo>
                    <a:lnTo>
                      <a:pt x="1625257" y="1435538"/>
                    </a:lnTo>
                    <a:lnTo>
                      <a:pt x="1625257" y="1384878"/>
                    </a:lnTo>
                    <a:lnTo>
                      <a:pt x="1601443" y="1384878"/>
                    </a:lnTo>
                    <a:lnTo>
                      <a:pt x="1601443" y="1333418"/>
                    </a:lnTo>
                    <a:lnTo>
                      <a:pt x="1586515" y="1333418"/>
                    </a:lnTo>
                    <a:lnTo>
                      <a:pt x="1586515" y="1281159"/>
                    </a:lnTo>
                    <a:lnTo>
                      <a:pt x="1250161" y="1281159"/>
                    </a:lnTo>
                    <a:lnTo>
                      <a:pt x="1250161" y="1228099"/>
                    </a:lnTo>
                    <a:lnTo>
                      <a:pt x="1000058" y="1228099"/>
                    </a:lnTo>
                    <a:lnTo>
                      <a:pt x="1000058" y="1176906"/>
                    </a:lnTo>
                    <a:lnTo>
                      <a:pt x="937502" y="1176906"/>
                    </a:lnTo>
                    <a:lnTo>
                      <a:pt x="937502" y="1125047"/>
                    </a:lnTo>
                    <a:lnTo>
                      <a:pt x="848171" y="1125047"/>
                    </a:lnTo>
                    <a:lnTo>
                      <a:pt x="848171" y="1072387"/>
                    </a:lnTo>
                    <a:lnTo>
                      <a:pt x="770806" y="1072387"/>
                    </a:lnTo>
                    <a:lnTo>
                      <a:pt x="770806" y="964802"/>
                    </a:lnTo>
                    <a:lnTo>
                      <a:pt x="639890" y="964802"/>
                    </a:lnTo>
                    <a:lnTo>
                      <a:pt x="639890" y="909743"/>
                    </a:lnTo>
                    <a:lnTo>
                      <a:pt x="636928" y="909743"/>
                    </a:lnTo>
                    <a:lnTo>
                      <a:pt x="636928" y="853884"/>
                    </a:lnTo>
                    <a:lnTo>
                      <a:pt x="589301" y="853884"/>
                    </a:lnTo>
                    <a:lnTo>
                      <a:pt x="589301" y="796958"/>
                    </a:lnTo>
                    <a:lnTo>
                      <a:pt x="547597" y="796958"/>
                    </a:lnTo>
                    <a:lnTo>
                      <a:pt x="547597" y="738966"/>
                    </a:lnTo>
                    <a:lnTo>
                      <a:pt x="505894" y="738966"/>
                    </a:lnTo>
                    <a:lnTo>
                      <a:pt x="505894" y="679774"/>
                    </a:lnTo>
                    <a:lnTo>
                      <a:pt x="476156" y="679774"/>
                    </a:lnTo>
                    <a:lnTo>
                      <a:pt x="476156" y="619249"/>
                    </a:lnTo>
                    <a:lnTo>
                      <a:pt x="470232" y="619249"/>
                    </a:lnTo>
                    <a:lnTo>
                      <a:pt x="470232" y="557257"/>
                    </a:lnTo>
                    <a:lnTo>
                      <a:pt x="282684" y="557257"/>
                    </a:lnTo>
                    <a:lnTo>
                      <a:pt x="282684" y="495533"/>
                    </a:lnTo>
                    <a:lnTo>
                      <a:pt x="175463" y="495533"/>
                    </a:lnTo>
                    <a:lnTo>
                      <a:pt x="175463" y="431808"/>
                    </a:lnTo>
                    <a:lnTo>
                      <a:pt x="151650" y="431808"/>
                    </a:lnTo>
                    <a:lnTo>
                      <a:pt x="151650" y="365417"/>
                    </a:lnTo>
                    <a:lnTo>
                      <a:pt x="127836" y="365417"/>
                    </a:lnTo>
                    <a:lnTo>
                      <a:pt x="127836" y="295560"/>
                    </a:lnTo>
                    <a:lnTo>
                      <a:pt x="65280" y="295560"/>
                    </a:lnTo>
                    <a:lnTo>
                      <a:pt x="65280" y="220370"/>
                    </a:lnTo>
                    <a:lnTo>
                      <a:pt x="62318" y="220370"/>
                    </a:lnTo>
                    <a:lnTo>
                      <a:pt x="62318" y="146780"/>
                    </a:lnTo>
                    <a:cubicBezTo>
                      <a:pt x="63266" y="147313"/>
                      <a:pt x="64214" y="147580"/>
                      <a:pt x="65280" y="147580"/>
                    </a:cubicBezTo>
                    <a:lnTo>
                      <a:pt x="121438" y="147580"/>
                    </a:lnTo>
                    <a:lnTo>
                      <a:pt x="121438" y="189574"/>
                    </a:lnTo>
                    <a:cubicBezTo>
                      <a:pt x="121438" y="191441"/>
                      <a:pt x="122149" y="193307"/>
                      <a:pt x="123334" y="194640"/>
                    </a:cubicBezTo>
                    <a:cubicBezTo>
                      <a:pt x="124519" y="195973"/>
                      <a:pt x="126177" y="196773"/>
                      <a:pt x="127836" y="196773"/>
                    </a:cubicBezTo>
                    <a:lnTo>
                      <a:pt x="145370" y="196773"/>
                    </a:lnTo>
                    <a:lnTo>
                      <a:pt x="145370" y="238767"/>
                    </a:lnTo>
                    <a:cubicBezTo>
                      <a:pt x="145370" y="240634"/>
                      <a:pt x="146081" y="242500"/>
                      <a:pt x="147266" y="243833"/>
                    </a:cubicBezTo>
                    <a:cubicBezTo>
                      <a:pt x="148451" y="245167"/>
                      <a:pt x="150109" y="245967"/>
                      <a:pt x="151768" y="245967"/>
                    </a:cubicBezTo>
                    <a:lnTo>
                      <a:pt x="169184" y="245967"/>
                    </a:lnTo>
                    <a:lnTo>
                      <a:pt x="169184" y="287961"/>
                    </a:lnTo>
                    <a:cubicBezTo>
                      <a:pt x="169184" y="289827"/>
                      <a:pt x="169895" y="291694"/>
                      <a:pt x="171080" y="293027"/>
                    </a:cubicBezTo>
                    <a:cubicBezTo>
                      <a:pt x="172264" y="294360"/>
                      <a:pt x="173923" y="295160"/>
                      <a:pt x="175582" y="295160"/>
                    </a:cubicBezTo>
                    <a:lnTo>
                      <a:pt x="276405" y="295160"/>
                    </a:lnTo>
                    <a:lnTo>
                      <a:pt x="276405" y="337154"/>
                    </a:lnTo>
                    <a:cubicBezTo>
                      <a:pt x="276405" y="339020"/>
                      <a:pt x="277116" y="340887"/>
                      <a:pt x="278301" y="342220"/>
                    </a:cubicBezTo>
                    <a:cubicBezTo>
                      <a:pt x="279485" y="343553"/>
                      <a:pt x="281144" y="344353"/>
                      <a:pt x="282803" y="344353"/>
                    </a:cubicBezTo>
                    <a:lnTo>
                      <a:pt x="463953" y="344353"/>
                    </a:lnTo>
                    <a:lnTo>
                      <a:pt x="463953" y="387681"/>
                    </a:lnTo>
                    <a:cubicBezTo>
                      <a:pt x="463953" y="389547"/>
                      <a:pt x="464664" y="391413"/>
                      <a:pt x="465849" y="392747"/>
                    </a:cubicBezTo>
                    <a:cubicBezTo>
                      <a:pt x="466915" y="393946"/>
                      <a:pt x="468455" y="394746"/>
                      <a:pt x="469995" y="394880"/>
                    </a:cubicBezTo>
                    <a:lnTo>
                      <a:pt x="469995" y="438207"/>
                    </a:lnTo>
                    <a:cubicBezTo>
                      <a:pt x="469995" y="440073"/>
                      <a:pt x="470706" y="441940"/>
                      <a:pt x="471891" y="443273"/>
                    </a:cubicBezTo>
                    <a:cubicBezTo>
                      <a:pt x="473076" y="444606"/>
                      <a:pt x="474734" y="445406"/>
                      <a:pt x="476393" y="445406"/>
                    </a:cubicBezTo>
                    <a:lnTo>
                      <a:pt x="499851" y="445406"/>
                    </a:lnTo>
                    <a:lnTo>
                      <a:pt x="499851" y="488733"/>
                    </a:lnTo>
                    <a:cubicBezTo>
                      <a:pt x="499851" y="490600"/>
                      <a:pt x="500562" y="492466"/>
                      <a:pt x="501747" y="493799"/>
                    </a:cubicBezTo>
                    <a:cubicBezTo>
                      <a:pt x="502932" y="495133"/>
                      <a:pt x="504590" y="495932"/>
                      <a:pt x="506249" y="495932"/>
                    </a:cubicBezTo>
                    <a:lnTo>
                      <a:pt x="541555" y="495932"/>
                    </a:lnTo>
                    <a:lnTo>
                      <a:pt x="541555" y="539260"/>
                    </a:lnTo>
                    <a:cubicBezTo>
                      <a:pt x="541555" y="541126"/>
                      <a:pt x="542266" y="542993"/>
                      <a:pt x="543450" y="544326"/>
                    </a:cubicBezTo>
                    <a:cubicBezTo>
                      <a:pt x="544635" y="545659"/>
                      <a:pt x="546294" y="546459"/>
                      <a:pt x="547953" y="546459"/>
                    </a:cubicBezTo>
                    <a:lnTo>
                      <a:pt x="583259" y="546459"/>
                    </a:lnTo>
                    <a:lnTo>
                      <a:pt x="583259" y="589786"/>
                    </a:lnTo>
                    <a:cubicBezTo>
                      <a:pt x="583259" y="591653"/>
                      <a:pt x="583969" y="593519"/>
                      <a:pt x="585154" y="594852"/>
                    </a:cubicBezTo>
                    <a:cubicBezTo>
                      <a:pt x="586339" y="596185"/>
                      <a:pt x="587998" y="596985"/>
                      <a:pt x="589656" y="596985"/>
                    </a:cubicBezTo>
                    <a:lnTo>
                      <a:pt x="630886" y="596985"/>
                    </a:lnTo>
                    <a:lnTo>
                      <a:pt x="630886" y="640446"/>
                    </a:lnTo>
                    <a:cubicBezTo>
                      <a:pt x="630886" y="642313"/>
                      <a:pt x="631597" y="644179"/>
                      <a:pt x="632782" y="645512"/>
                    </a:cubicBezTo>
                    <a:cubicBezTo>
                      <a:pt x="633137" y="645912"/>
                      <a:pt x="633492" y="646179"/>
                      <a:pt x="633966" y="646445"/>
                    </a:cubicBezTo>
                    <a:lnTo>
                      <a:pt x="633966" y="690839"/>
                    </a:lnTo>
                    <a:cubicBezTo>
                      <a:pt x="633966" y="692706"/>
                      <a:pt x="634677" y="694572"/>
                      <a:pt x="635862" y="695905"/>
                    </a:cubicBezTo>
                    <a:cubicBezTo>
                      <a:pt x="637047" y="697238"/>
                      <a:pt x="638705" y="698038"/>
                      <a:pt x="640364" y="698038"/>
                    </a:cubicBezTo>
                    <a:lnTo>
                      <a:pt x="765001" y="698038"/>
                    </a:lnTo>
                    <a:lnTo>
                      <a:pt x="765001" y="791892"/>
                    </a:lnTo>
                    <a:cubicBezTo>
                      <a:pt x="765001" y="793759"/>
                      <a:pt x="765712" y="795625"/>
                      <a:pt x="766897" y="796958"/>
                    </a:cubicBezTo>
                    <a:cubicBezTo>
                      <a:pt x="768081" y="798291"/>
                      <a:pt x="769740" y="799091"/>
                      <a:pt x="771399" y="799091"/>
                    </a:cubicBezTo>
                    <a:lnTo>
                      <a:pt x="842484" y="799091"/>
                    </a:lnTo>
                    <a:lnTo>
                      <a:pt x="842484" y="842419"/>
                    </a:lnTo>
                    <a:cubicBezTo>
                      <a:pt x="842484" y="844285"/>
                      <a:pt x="843195" y="846151"/>
                      <a:pt x="844380" y="847485"/>
                    </a:cubicBezTo>
                    <a:cubicBezTo>
                      <a:pt x="845565" y="848818"/>
                      <a:pt x="847224" y="849618"/>
                      <a:pt x="848882" y="849618"/>
                    </a:cubicBezTo>
                    <a:lnTo>
                      <a:pt x="931816" y="849618"/>
                    </a:lnTo>
                    <a:lnTo>
                      <a:pt x="931816" y="892945"/>
                    </a:lnTo>
                    <a:cubicBezTo>
                      <a:pt x="931816" y="894812"/>
                      <a:pt x="932526" y="896678"/>
                      <a:pt x="933711" y="898011"/>
                    </a:cubicBezTo>
                    <a:cubicBezTo>
                      <a:pt x="934896" y="899344"/>
                      <a:pt x="936555" y="900144"/>
                      <a:pt x="938213" y="900144"/>
                    </a:cubicBezTo>
                    <a:lnTo>
                      <a:pt x="994371" y="900144"/>
                    </a:lnTo>
                    <a:lnTo>
                      <a:pt x="994371" y="943471"/>
                    </a:lnTo>
                    <a:cubicBezTo>
                      <a:pt x="994371" y="945338"/>
                      <a:pt x="995082" y="947204"/>
                      <a:pt x="996267" y="948537"/>
                    </a:cubicBezTo>
                    <a:cubicBezTo>
                      <a:pt x="997451" y="949871"/>
                      <a:pt x="999110" y="950670"/>
                      <a:pt x="1000769" y="950670"/>
                    </a:cubicBezTo>
                    <a:lnTo>
                      <a:pt x="1244474" y="950670"/>
                    </a:lnTo>
                    <a:lnTo>
                      <a:pt x="1244474" y="996131"/>
                    </a:lnTo>
                    <a:cubicBezTo>
                      <a:pt x="1244474" y="997997"/>
                      <a:pt x="1245185" y="999864"/>
                      <a:pt x="1246370" y="1001197"/>
                    </a:cubicBezTo>
                    <a:cubicBezTo>
                      <a:pt x="1247555" y="1002530"/>
                      <a:pt x="1249213" y="1003330"/>
                      <a:pt x="1250872" y="1003330"/>
                    </a:cubicBezTo>
                    <a:lnTo>
                      <a:pt x="1580828" y="1003330"/>
                    </a:lnTo>
                    <a:lnTo>
                      <a:pt x="1580828" y="1048790"/>
                    </a:lnTo>
                    <a:cubicBezTo>
                      <a:pt x="1580828" y="1050657"/>
                      <a:pt x="1581539" y="1052523"/>
                      <a:pt x="1582724" y="1053857"/>
                    </a:cubicBezTo>
                    <a:cubicBezTo>
                      <a:pt x="1583909" y="1055190"/>
                      <a:pt x="1585568" y="1055990"/>
                      <a:pt x="1587226" y="1055990"/>
                    </a:cubicBezTo>
                    <a:lnTo>
                      <a:pt x="1595756" y="1055990"/>
                    </a:lnTo>
                    <a:lnTo>
                      <a:pt x="1595756" y="1101450"/>
                    </a:lnTo>
                    <a:cubicBezTo>
                      <a:pt x="1595756" y="1103316"/>
                      <a:pt x="1596467" y="1105183"/>
                      <a:pt x="1597652" y="1106516"/>
                    </a:cubicBezTo>
                    <a:cubicBezTo>
                      <a:pt x="1598837" y="1107849"/>
                      <a:pt x="1600495" y="1108649"/>
                      <a:pt x="1602154" y="1108649"/>
                    </a:cubicBezTo>
                    <a:lnTo>
                      <a:pt x="1619689" y="1108649"/>
                    </a:lnTo>
                    <a:lnTo>
                      <a:pt x="1619689" y="1153976"/>
                    </a:lnTo>
                    <a:cubicBezTo>
                      <a:pt x="1619689" y="1155843"/>
                      <a:pt x="1620399" y="1157709"/>
                      <a:pt x="1621584" y="1159042"/>
                    </a:cubicBezTo>
                    <a:cubicBezTo>
                      <a:pt x="1622769" y="1160375"/>
                      <a:pt x="1624428" y="1161175"/>
                      <a:pt x="1626086" y="1161175"/>
                    </a:cubicBezTo>
                    <a:lnTo>
                      <a:pt x="1637579" y="1161175"/>
                    </a:lnTo>
                    <a:lnTo>
                      <a:pt x="1637579" y="1206636"/>
                    </a:lnTo>
                    <a:cubicBezTo>
                      <a:pt x="1637579" y="1208502"/>
                      <a:pt x="1638289" y="1210369"/>
                      <a:pt x="1639474" y="1211702"/>
                    </a:cubicBezTo>
                    <a:cubicBezTo>
                      <a:pt x="1640659" y="1213035"/>
                      <a:pt x="1642318" y="1213835"/>
                      <a:pt x="1643976" y="1213835"/>
                    </a:cubicBezTo>
                    <a:lnTo>
                      <a:pt x="1822165" y="1213835"/>
                    </a:lnTo>
                    <a:lnTo>
                      <a:pt x="1822165" y="1259295"/>
                    </a:lnTo>
                    <a:cubicBezTo>
                      <a:pt x="1822165" y="1261162"/>
                      <a:pt x="1822875" y="1263028"/>
                      <a:pt x="1824060" y="1264361"/>
                    </a:cubicBezTo>
                    <a:cubicBezTo>
                      <a:pt x="1825245" y="1265694"/>
                      <a:pt x="1826904" y="1266494"/>
                      <a:pt x="1828562" y="1266494"/>
                    </a:cubicBezTo>
                    <a:lnTo>
                      <a:pt x="3042943" y="1266494"/>
                    </a:lnTo>
                    <a:lnTo>
                      <a:pt x="3042943" y="1297157"/>
                    </a:lnTo>
                    <a:lnTo>
                      <a:pt x="3227530" y="1297157"/>
                    </a:lnTo>
                    <a:lnTo>
                      <a:pt x="3227530" y="1374346"/>
                    </a:lnTo>
                    <a:lnTo>
                      <a:pt x="4923398" y="1374346"/>
                    </a:lnTo>
                    <a:lnTo>
                      <a:pt x="4923398" y="153552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66E23668-91E9-1543-3E75-6FF1FEE2E751}"/>
                  </a:ext>
                </a:extLst>
              </p:cNvPr>
              <p:cNvSpPr/>
              <p:nvPr/>
            </p:nvSpPr>
            <p:spPr>
              <a:xfrm>
                <a:off x="2395082" y="1831217"/>
                <a:ext cx="1384157" cy="586720"/>
              </a:xfrm>
              <a:custGeom>
                <a:avLst/>
                <a:gdLst>
                  <a:gd name="connsiteX0" fmla="*/ 80445 w 1384157"/>
                  <a:gd name="connsiteY0" fmla="*/ 2000 h 586720"/>
                  <a:gd name="connsiteX1" fmla="*/ 6398 w 1384157"/>
                  <a:gd name="connsiteY1" fmla="*/ 2000 h 586720"/>
                  <a:gd name="connsiteX2" fmla="*/ 6398 w 1384157"/>
                  <a:gd name="connsiteY2" fmla="*/ 0 h 586720"/>
                  <a:gd name="connsiteX3" fmla="*/ 80445 w 1384157"/>
                  <a:gd name="connsiteY3" fmla="*/ 0 h 586720"/>
                  <a:gd name="connsiteX4" fmla="*/ 80445 w 1384157"/>
                  <a:gd name="connsiteY4" fmla="*/ 2000 h 586720"/>
                  <a:gd name="connsiteX5" fmla="*/ 345240 w 1384157"/>
                  <a:gd name="connsiteY5" fmla="*/ 142514 h 586720"/>
                  <a:gd name="connsiteX6" fmla="*/ 0 w 1384157"/>
                  <a:gd name="connsiteY6" fmla="*/ 142514 h 586720"/>
                  <a:gd name="connsiteX7" fmla="*/ 0 w 1384157"/>
                  <a:gd name="connsiteY7" fmla="*/ 16264 h 586720"/>
                  <a:gd name="connsiteX8" fmla="*/ 80327 w 1384157"/>
                  <a:gd name="connsiteY8" fmla="*/ 16264 h 586720"/>
                  <a:gd name="connsiteX9" fmla="*/ 80327 w 1384157"/>
                  <a:gd name="connsiteY9" fmla="*/ 32262 h 586720"/>
                  <a:gd name="connsiteX10" fmla="*/ 267875 w 1384157"/>
                  <a:gd name="connsiteY10" fmla="*/ 32262 h 586720"/>
                  <a:gd name="connsiteX11" fmla="*/ 267875 w 1384157"/>
                  <a:gd name="connsiteY11" fmla="*/ 66658 h 586720"/>
                  <a:gd name="connsiteX12" fmla="*/ 273799 w 1384157"/>
                  <a:gd name="connsiteY12" fmla="*/ 66658 h 586720"/>
                  <a:gd name="connsiteX13" fmla="*/ 273799 w 1384157"/>
                  <a:gd name="connsiteY13" fmla="*/ 102653 h 586720"/>
                  <a:gd name="connsiteX14" fmla="*/ 303536 w 1384157"/>
                  <a:gd name="connsiteY14" fmla="*/ 102653 h 586720"/>
                  <a:gd name="connsiteX15" fmla="*/ 303536 w 1384157"/>
                  <a:gd name="connsiteY15" fmla="*/ 139981 h 586720"/>
                  <a:gd name="connsiteX16" fmla="*/ 345240 w 1384157"/>
                  <a:gd name="connsiteY16" fmla="*/ 139981 h 586720"/>
                  <a:gd name="connsiteX17" fmla="*/ 345240 w 1384157"/>
                  <a:gd name="connsiteY17" fmla="*/ 142381 h 586720"/>
                  <a:gd name="connsiteX18" fmla="*/ 1047804 w 1384157"/>
                  <a:gd name="connsiteY18" fmla="*/ 564723 h 586720"/>
                  <a:gd name="connsiteX19" fmla="*/ 1000176 w 1384157"/>
                  <a:gd name="connsiteY19" fmla="*/ 564723 h 586720"/>
                  <a:gd name="connsiteX20" fmla="*/ 1000176 w 1384157"/>
                  <a:gd name="connsiteY20" fmla="*/ 519529 h 586720"/>
                  <a:gd name="connsiteX21" fmla="*/ 1047804 w 1384157"/>
                  <a:gd name="connsiteY21" fmla="*/ 519529 h 586720"/>
                  <a:gd name="connsiteX22" fmla="*/ 1047804 w 1384157"/>
                  <a:gd name="connsiteY22" fmla="*/ 564723 h 586720"/>
                  <a:gd name="connsiteX23" fmla="*/ 1384158 w 1384157"/>
                  <a:gd name="connsiteY23" fmla="*/ 586720 h 586720"/>
                  <a:gd name="connsiteX24" fmla="*/ 1330962 w 1384157"/>
                  <a:gd name="connsiteY24" fmla="*/ 586720 h 586720"/>
                  <a:gd name="connsiteX25" fmla="*/ 1330962 w 1384157"/>
                  <a:gd name="connsiteY25" fmla="*/ 566590 h 586720"/>
                  <a:gd name="connsiteX26" fmla="*/ 1384158 w 1384157"/>
                  <a:gd name="connsiteY26" fmla="*/ 566590 h 586720"/>
                  <a:gd name="connsiteX27" fmla="*/ 1384158 w 1384157"/>
                  <a:gd name="connsiteY27" fmla="*/ 586720 h 586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84157" h="586720">
                    <a:moveTo>
                      <a:pt x="80445" y="2000"/>
                    </a:moveTo>
                    <a:lnTo>
                      <a:pt x="6398" y="2000"/>
                    </a:lnTo>
                    <a:lnTo>
                      <a:pt x="6398" y="0"/>
                    </a:lnTo>
                    <a:lnTo>
                      <a:pt x="80445" y="0"/>
                    </a:lnTo>
                    <a:lnTo>
                      <a:pt x="80445" y="2000"/>
                    </a:lnTo>
                    <a:moveTo>
                      <a:pt x="345240" y="142514"/>
                    </a:moveTo>
                    <a:lnTo>
                      <a:pt x="0" y="142514"/>
                    </a:lnTo>
                    <a:lnTo>
                      <a:pt x="0" y="16264"/>
                    </a:lnTo>
                    <a:lnTo>
                      <a:pt x="80327" y="16264"/>
                    </a:lnTo>
                    <a:lnTo>
                      <a:pt x="80327" y="32262"/>
                    </a:lnTo>
                    <a:lnTo>
                      <a:pt x="267875" y="32262"/>
                    </a:lnTo>
                    <a:lnTo>
                      <a:pt x="267875" y="66658"/>
                    </a:lnTo>
                    <a:lnTo>
                      <a:pt x="273799" y="66658"/>
                    </a:lnTo>
                    <a:lnTo>
                      <a:pt x="273799" y="102653"/>
                    </a:lnTo>
                    <a:lnTo>
                      <a:pt x="303536" y="102653"/>
                    </a:lnTo>
                    <a:lnTo>
                      <a:pt x="303536" y="139981"/>
                    </a:lnTo>
                    <a:lnTo>
                      <a:pt x="345240" y="139981"/>
                    </a:lnTo>
                    <a:lnTo>
                      <a:pt x="345240" y="142381"/>
                    </a:lnTo>
                    <a:moveTo>
                      <a:pt x="1047804" y="564723"/>
                    </a:moveTo>
                    <a:lnTo>
                      <a:pt x="1000176" y="564723"/>
                    </a:lnTo>
                    <a:lnTo>
                      <a:pt x="1000176" y="519529"/>
                    </a:lnTo>
                    <a:lnTo>
                      <a:pt x="1047804" y="519529"/>
                    </a:lnTo>
                    <a:lnTo>
                      <a:pt x="1047804" y="564723"/>
                    </a:lnTo>
                    <a:moveTo>
                      <a:pt x="1384158" y="586720"/>
                    </a:moveTo>
                    <a:lnTo>
                      <a:pt x="1330962" y="586720"/>
                    </a:lnTo>
                    <a:lnTo>
                      <a:pt x="1330962" y="566590"/>
                    </a:lnTo>
                    <a:lnTo>
                      <a:pt x="1384158" y="566590"/>
                    </a:lnTo>
                    <a:lnTo>
                      <a:pt x="1384158" y="586720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F795E014-1B2B-3F61-E005-E2460D58AA7C}"/>
                  </a:ext>
                </a:extLst>
              </p:cNvPr>
              <p:cNvSpPr/>
              <p:nvPr/>
            </p:nvSpPr>
            <p:spPr>
              <a:xfrm>
                <a:off x="3624509" y="2397940"/>
                <a:ext cx="3490783" cy="751764"/>
              </a:xfrm>
              <a:custGeom>
                <a:avLst/>
                <a:gdLst>
                  <a:gd name="connsiteX0" fmla="*/ 3490665 w 3490783"/>
                  <a:gd name="connsiteY0" fmla="*/ 751631 h 751764"/>
                  <a:gd name="connsiteX1" fmla="*/ 1794796 w 3490783"/>
                  <a:gd name="connsiteY1" fmla="*/ 751631 h 751764"/>
                  <a:gd name="connsiteX2" fmla="*/ 1794796 w 3490783"/>
                  <a:gd name="connsiteY2" fmla="*/ 674442 h 751764"/>
                  <a:gd name="connsiteX3" fmla="*/ 1610210 w 3490783"/>
                  <a:gd name="connsiteY3" fmla="*/ 674442 h 751764"/>
                  <a:gd name="connsiteX4" fmla="*/ 1610210 w 3490783"/>
                  <a:gd name="connsiteY4" fmla="*/ 643779 h 751764"/>
                  <a:gd name="connsiteX5" fmla="*/ 3490665 w 3490783"/>
                  <a:gd name="connsiteY5" fmla="*/ 643779 h 751764"/>
                  <a:gd name="connsiteX6" fmla="*/ 3490665 w 3490783"/>
                  <a:gd name="connsiteY6" fmla="*/ 629514 h 751764"/>
                  <a:gd name="connsiteX7" fmla="*/ 1610210 w 3490783"/>
                  <a:gd name="connsiteY7" fmla="*/ 629514 h 751764"/>
                  <a:gd name="connsiteX8" fmla="*/ 1610210 w 3490783"/>
                  <a:gd name="connsiteY8" fmla="*/ 595119 h 751764"/>
                  <a:gd name="connsiteX9" fmla="*/ 1565545 w 3490783"/>
                  <a:gd name="connsiteY9" fmla="*/ 595119 h 751764"/>
                  <a:gd name="connsiteX10" fmla="*/ 1565545 w 3490783"/>
                  <a:gd name="connsiteY10" fmla="*/ 513530 h 751764"/>
                  <a:gd name="connsiteX11" fmla="*/ 1357264 w 3490783"/>
                  <a:gd name="connsiteY11" fmla="*/ 513530 h 751764"/>
                  <a:gd name="connsiteX12" fmla="*/ 1357264 w 3490783"/>
                  <a:gd name="connsiteY12" fmla="*/ 429542 h 751764"/>
                  <a:gd name="connsiteX13" fmla="*/ 747111 w 3490783"/>
                  <a:gd name="connsiteY13" fmla="*/ 429542 h 751764"/>
                  <a:gd name="connsiteX14" fmla="*/ 747111 w 3490783"/>
                  <a:gd name="connsiteY14" fmla="*/ 348619 h 751764"/>
                  <a:gd name="connsiteX15" fmla="*/ 95255 w 3490783"/>
                  <a:gd name="connsiteY15" fmla="*/ 348619 h 751764"/>
                  <a:gd name="connsiteX16" fmla="*/ 95255 w 3490783"/>
                  <a:gd name="connsiteY16" fmla="*/ 265297 h 751764"/>
                  <a:gd name="connsiteX17" fmla="*/ 23814 w 3490783"/>
                  <a:gd name="connsiteY17" fmla="*/ 265297 h 751764"/>
                  <a:gd name="connsiteX18" fmla="*/ 23814 w 3490783"/>
                  <a:gd name="connsiteY18" fmla="*/ 90521 h 751764"/>
                  <a:gd name="connsiteX19" fmla="*/ 0 w 3490783"/>
                  <a:gd name="connsiteY19" fmla="*/ 90521 h 751764"/>
                  <a:gd name="connsiteX20" fmla="*/ 0 w 3490783"/>
                  <a:gd name="connsiteY20" fmla="*/ 0 h 751764"/>
                  <a:gd name="connsiteX21" fmla="*/ 88976 w 3490783"/>
                  <a:gd name="connsiteY21" fmla="*/ 0 h 751764"/>
                  <a:gd name="connsiteX22" fmla="*/ 88976 w 3490783"/>
                  <a:gd name="connsiteY22" fmla="*/ 27196 h 751764"/>
                  <a:gd name="connsiteX23" fmla="*/ 90871 w 3490783"/>
                  <a:gd name="connsiteY23" fmla="*/ 32262 h 751764"/>
                  <a:gd name="connsiteX24" fmla="*/ 95373 w 3490783"/>
                  <a:gd name="connsiteY24" fmla="*/ 34395 h 751764"/>
                  <a:gd name="connsiteX25" fmla="*/ 154848 w 3490783"/>
                  <a:gd name="connsiteY25" fmla="*/ 34395 h 751764"/>
                  <a:gd name="connsiteX26" fmla="*/ 154848 w 3490783"/>
                  <a:gd name="connsiteY26" fmla="*/ 47860 h 751764"/>
                  <a:gd name="connsiteX27" fmla="*/ 169776 w 3490783"/>
                  <a:gd name="connsiteY27" fmla="*/ 47860 h 751764"/>
                  <a:gd name="connsiteX28" fmla="*/ 169776 w 3490783"/>
                  <a:gd name="connsiteY28" fmla="*/ 96520 h 751764"/>
                  <a:gd name="connsiteX29" fmla="*/ 193590 w 3490783"/>
                  <a:gd name="connsiteY29" fmla="*/ 96520 h 751764"/>
                  <a:gd name="connsiteX30" fmla="*/ 193590 w 3490783"/>
                  <a:gd name="connsiteY30" fmla="*/ 145847 h 751764"/>
                  <a:gd name="connsiteX31" fmla="*/ 211362 w 3490783"/>
                  <a:gd name="connsiteY31" fmla="*/ 145847 h 751764"/>
                  <a:gd name="connsiteX32" fmla="*/ 211362 w 3490783"/>
                  <a:gd name="connsiteY32" fmla="*/ 196107 h 751764"/>
                  <a:gd name="connsiteX33" fmla="*/ 395947 w 3490783"/>
                  <a:gd name="connsiteY33" fmla="*/ 196107 h 751764"/>
                  <a:gd name="connsiteX34" fmla="*/ 395947 w 3490783"/>
                  <a:gd name="connsiteY34" fmla="*/ 247033 h 751764"/>
                  <a:gd name="connsiteX35" fmla="*/ 1559384 w 3490783"/>
                  <a:gd name="connsiteY35" fmla="*/ 247033 h 751764"/>
                  <a:gd name="connsiteX36" fmla="*/ 1559384 w 3490783"/>
                  <a:gd name="connsiteY36" fmla="*/ 257298 h 751764"/>
                  <a:gd name="connsiteX37" fmla="*/ 1561280 w 3490783"/>
                  <a:gd name="connsiteY37" fmla="*/ 262364 h 751764"/>
                  <a:gd name="connsiteX38" fmla="*/ 1565782 w 3490783"/>
                  <a:gd name="connsiteY38" fmla="*/ 264497 h 751764"/>
                  <a:gd name="connsiteX39" fmla="*/ 1604050 w 3490783"/>
                  <a:gd name="connsiteY39" fmla="*/ 264497 h 751764"/>
                  <a:gd name="connsiteX40" fmla="*/ 1604050 w 3490783"/>
                  <a:gd name="connsiteY40" fmla="*/ 335421 h 751764"/>
                  <a:gd name="connsiteX41" fmla="*/ 1605945 w 3490783"/>
                  <a:gd name="connsiteY41" fmla="*/ 340487 h 751764"/>
                  <a:gd name="connsiteX42" fmla="*/ 1610447 w 3490783"/>
                  <a:gd name="connsiteY42" fmla="*/ 342620 h 751764"/>
                  <a:gd name="connsiteX43" fmla="*/ 1788636 w 3490783"/>
                  <a:gd name="connsiteY43" fmla="*/ 342620 h 751764"/>
                  <a:gd name="connsiteX44" fmla="*/ 1788636 w 3490783"/>
                  <a:gd name="connsiteY44" fmla="*/ 413410 h 751764"/>
                  <a:gd name="connsiteX45" fmla="*/ 1790531 w 3490783"/>
                  <a:gd name="connsiteY45" fmla="*/ 418476 h 751764"/>
                  <a:gd name="connsiteX46" fmla="*/ 1795033 w 3490783"/>
                  <a:gd name="connsiteY46" fmla="*/ 420609 h 751764"/>
                  <a:gd name="connsiteX47" fmla="*/ 3488651 w 3490783"/>
                  <a:gd name="connsiteY47" fmla="*/ 420609 h 751764"/>
                  <a:gd name="connsiteX48" fmla="*/ 3488651 w 3490783"/>
                  <a:gd name="connsiteY48" fmla="*/ 406345 h 751764"/>
                  <a:gd name="connsiteX49" fmla="*/ 1801313 w 3490783"/>
                  <a:gd name="connsiteY49" fmla="*/ 406345 h 751764"/>
                  <a:gd name="connsiteX50" fmla="*/ 1801313 w 3490783"/>
                  <a:gd name="connsiteY50" fmla="*/ 335554 h 751764"/>
                  <a:gd name="connsiteX51" fmla="*/ 1799417 w 3490783"/>
                  <a:gd name="connsiteY51" fmla="*/ 330488 h 751764"/>
                  <a:gd name="connsiteX52" fmla="*/ 1794915 w 3490783"/>
                  <a:gd name="connsiteY52" fmla="*/ 328355 h 751764"/>
                  <a:gd name="connsiteX53" fmla="*/ 1616726 w 3490783"/>
                  <a:gd name="connsiteY53" fmla="*/ 328355 h 751764"/>
                  <a:gd name="connsiteX54" fmla="*/ 1616726 w 3490783"/>
                  <a:gd name="connsiteY54" fmla="*/ 257432 h 751764"/>
                  <a:gd name="connsiteX55" fmla="*/ 1614831 w 3490783"/>
                  <a:gd name="connsiteY55" fmla="*/ 252366 h 751764"/>
                  <a:gd name="connsiteX56" fmla="*/ 1610329 w 3490783"/>
                  <a:gd name="connsiteY56" fmla="*/ 250233 h 751764"/>
                  <a:gd name="connsiteX57" fmla="*/ 1572061 w 3490783"/>
                  <a:gd name="connsiteY57" fmla="*/ 250233 h 751764"/>
                  <a:gd name="connsiteX58" fmla="*/ 1572061 w 3490783"/>
                  <a:gd name="connsiteY58" fmla="*/ 247033 h 751764"/>
                  <a:gd name="connsiteX59" fmla="*/ 3490784 w 3490783"/>
                  <a:gd name="connsiteY59" fmla="*/ 247033 h 751764"/>
                  <a:gd name="connsiteX60" fmla="*/ 3490784 w 3490783"/>
                  <a:gd name="connsiteY60" fmla="*/ 751764 h 751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3490783" h="751764">
                    <a:moveTo>
                      <a:pt x="3490665" y="751631"/>
                    </a:moveTo>
                    <a:lnTo>
                      <a:pt x="1794796" y="751631"/>
                    </a:lnTo>
                    <a:lnTo>
                      <a:pt x="1794796" y="674442"/>
                    </a:lnTo>
                    <a:lnTo>
                      <a:pt x="1610210" y="674442"/>
                    </a:lnTo>
                    <a:lnTo>
                      <a:pt x="1610210" y="643779"/>
                    </a:lnTo>
                    <a:lnTo>
                      <a:pt x="3490665" y="643779"/>
                    </a:lnTo>
                    <a:lnTo>
                      <a:pt x="3490665" y="629514"/>
                    </a:lnTo>
                    <a:lnTo>
                      <a:pt x="1610210" y="629514"/>
                    </a:lnTo>
                    <a:lnTo>
                      <a:pt x="1610210" y="595119"/>
                    </a:lnTo>
                    <a:lnTo>
                      <a:pt x="1565545" y="595119"/>
                    </a:lnTo>
                    <a:lnTo>
                      <a:pt x="1565545" y="513530"/>
                    </a:lnTo>
                    <a:lnTo>
                      <a:pt x="1357264" y="513530"/>
                    </a:lnTo>
                    <a:lnTo>
                      <a:pt x="1357264" y="429542"/>
                    </a:lnTo>
                    <a:lnTo>
                      <a:pt x="747111" y="429542"/>
                    </a:lnTo>
                    <a:lnTo>
                      <a:pt x="747111" y="348619"/>
                    </a:lnTo>
                    <a:lnTo>
                      <a:pt x="95255" y="348619"/>
                    </a:lnTo>
                    <a:lnTo>
                      <a:pt x="95255" y="265297"/>
                    </a:lnTo>
                    <a:lnTo>
                      <a:pt x="23814" y="265297"/>
                    </a:lnTo>
                    <a:lnTo>
                      <a:pt x="23814" y="90521"/>
                    </a:lnTo>
                    <a:lnTo>
                      <a:pt x="0" y="90521"/>
                    </a:lnTo>
                    <a:lnTo>
                      <a:pt x="0" y="0"/>
                    </a:lnTo>
                    <a:lnTo>
                      <a:pt x="88976" y="0"/>
                    </a:lnTo>
                    <a:lnTo>
                      <a:pt x="88976" y="27196"/>
                    </a:lnTo>
                    <a:cubicBezTo>
                      <a:pt x="88976" y="29063"/>
                      <a:pt x="89687" y="30929"/>
                      <a:pt x="90871" y="32262"/>
                    </a:cubicBezTo>
                    <a:cubicBezTo>
                      <a:pt x="92056" y="33595"/>
                      <a:pt x="93715" y="34395"/>
                      <a:pt x="95373" y="34395"/>
                    </a:cubicBezTo>
                    <a:lnTo>
                      <a:pt x="154848" y="34395"/>
                    </a:lnTo>
                    <a:lnTo>
                      <a:pt x="154848" y="47860"/>
                    </a:lnTo>
                    <a:lnTo>
                      <a:pt x="169776" y="47860"/>
                    </a:lnTo>
                    <a:lnTo>
                      <a:pt x="169776" y="96520"/>
                    </a:lnTo>
                    <a:lnTo>
                      <a:pt x="193590" y="96520"/>
                    </a:lnTo>
                    <a:lnTo>
                      <a:pt x="193590" y="145847"/>
                    </a:lnTo>
                    <a:lnTo>
                      <a:pt x="211362" y="145847"/>
                    </a:lnTo>
                    <a:lnTo>
                      <a:pt x="211362" y="196107"/>
                    </a:lnTo>
                    <a:lnTo>
                      <a:pt x="395947" y="196107"/>
                    </a:lnTo>
                    <a:lnTo>
                      <a:pt x="395947" y="247033"/>
                    </a:lnTo>
                    <a:lnTo>
                      <a:pt x="1559384" y="247033"/>
                    </a:lnTo>
                    <a:lnTo>
                      <a:pt x="1559384" y="257298"/>
                    </a:lnTo>
                    <a:cubicBezTo>
                      <a:pt x="1559384" y="259165"/>
                      <a:pt x="1560095" y="261031"/>
                      <a:pt x="1561280" y="262364"/>
                    </a:cubicBezTo>
                    <a:cubicBezTo>
                      <a:pt x="1562465" y="263697"/>
                      <a:pt x="1564123" y="264497"/>
                      <a:pt x="1565782" y="264497"/>
                    </a:cubicBezTo>
                    <a:lnTo>
                      <a:pt x="1604050" y="264497"/>
                    </a:lnTo>
                    <a:lnTo>
                      <a:pt x="1604050" y="335421"/>
                    </a:lnTo>
                    <a:cubicBezTo>
                      <a:pt x="1604050" y="337287"/>
                      <a:pt x="1604761" y="339154"/>
                      <a:pt x="1605945" y="340487"/>
                    </a:cubicBezTo>
                    <a:cubicBezTo>
                      <a:pt x="1607130" y="341820"/>
                      <a:pt x="1608789" y="342620"/>
                      <a:pt x="1610447" y="342620"/>
                    </a:cubicBezTo>
                    <a:lnTo>
                      <a:pt x="1788636" y="342620"/>
                    </a:lnTo>
                    <a:lnTo>
                      <a:pt x="1788636" y="413410"/>
                    </a:lnTo>
                    <a:cubicBezTo>
                      <a:pt x="1788636" y="415277"/>
                      <a:pt x="1789346" y="417143"/>
                      <a:pt x="1790531" y="418476"/>
                    </a:cubicBezTo>
                    <a:cubicBezTo>
                      <a:pt x="1791716" y="419809"/>
                      <a:pt x="1793375" y="420609"/>
                      <a:pt x="1795033" y="420609"/>
                    </a:cubicBezTo>
                    <a:lnTo>
                      <a:pt x="3488651" y="420609"/>
                    </a:lnTo>
                    <a:lnTo>
                      <a:pt x="3488651" y="406345"/>
                    </a:lnTo>
                    <a:lnTo>
                      <a:pt x="1801313" y="406345"/>
                    </a:lnTo>
                    <a:lnTo>
                      <a:pt x="1801313" y="335554"/>
                    </a:lnTo>
                    <a:cubicBezTo>
                      <a:pt x="1801313" y="333688"/>
                      <a:pt x="1800602" y="331821"/>
                      <a:pt x="1799417" y="330488"/>
                    </a:cubicBezTo>
                    <a:cubicBezTo>
                      <a:pt x="1798232" y="329155"/>
                      <a:pt x="1796574" y="328355"/>
                      <a:pt x="1794915" y="328355"/>
                    </a:cubicBezTo>
                    <a:lnTo>
                      <a:pt x="1616726" y="328355"/>
                    </a:lnTo>
                    <a:lnTo>
                      <a:pt x="1616726" y="257432"/>
                    </a:lnTo>
                    <a:cubicBezTo>
                      <a:pt x="1616726" y="255565"/>
                      <a:pt x="1616016" y="253699"/>
                      <a:pt x="1614831" y="252366"/>
                    </a:cubicBezTo>
                    <a:cubicBezTo>
                      <a:pt x="1613646" y="251033"/>
                      <a:pt x="1611988" y="250233"/>
                      <a:pt x="1610329" y="250233"/>
                    </a:cubicBezTo>
                    <a:lnTo>
                      <a:pt x="1572061" y="250233"/>
                    </a:lnTo>
                    <a:lnTo>
                      <a:pt x="1572061" y="247033"/>
                    </a:lnTo>
                    <a:lnTo>
                      <a:pt x="3490784" y="247033"/>
                    </a:lnTo>
                    <a:lnTo>
                      <a:pt x="3490784" y="75176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A328AC76-2260-DFE0-422B-7E22A3EFB70A}"/>
                  </a:ext>
                </a:extLst>
              </p:cNvPr>
              <p:cNvSpPr/>
              <p:nvPr/>
            </p:nvSpPr>
            <p:spPr>
              <a:xfrm>
                <a:off x="2151021" y="1768959"/>
                <a:ext cx="244061" cy="78522"/>
              </a:xfrm>
              <a:custGeom>
                <a:avLst/>
                <a:gdLst>
                  <a:gd name="connsiteX0" fmla="*/ 41704 w 244061"/>
                  <a:gd name="connsiteY0" fmla="*/ 133 h 78522"/>
                  <a:gd name="connsiteX1" fmla="*/ 0 w 244061"/>
                  <a:gd name="connsiteY1" fmla="*/ 133 h 78522"/>
                  <a:gd name="connsiteX2" fmla="*/ 41704 w 244061"/>
                  <a:gd name="connsiteY2" fmla="*/ 133 h 78522"/>
                  <a:gd name="connsiteX3" fmla="*/ 193472 w 244061"/>
                  <a:gd name="connsiteY3" fmla="*/ 7199 h 78522"/>
                  <a:gd name="connsiteX4" fmla="*/ 41704 w 244061"/>
                  <a:gd name="connsiteY4" fmla="*/ 7199 h 78522"/>
                  <a:gd name="connsiteX5" fmla="*/ 41704 w 244061"/>
                  <a:gd name="connsiteY5" fmla="*/ 0 h 78522"/>
                  <a:gd name="connsiteX6" fmla="*/ 169658 w 244061"/>
                  <a:gd name="connsiteY6" fmla="*/ 0 h 78522"/>
                  <a:gd name="connsiteX7" fmla="*/ 169658 w 244061"/>
                  <a:gd name="connsiteY7" fmla="*/ 3999 h 78522"/>
                  <a:gd name="connsiteX8" fmla="*/ 193472 w 244061"/>
                  <a:gd name="connsiteY8" fmla="*/ 3999 h 78522"/>
                  <a:gd name="connsiteX9" fmla="*/ 193472 w 244061"/>
                  <a:gd name="connsiteY9" fmla="*/ 7066 h 78522"/>
                  <a:gd name="connsiteX10" fmla="*/ 244061 w 244061"/>
                  <a:gd name="connsiteY10" fmla="*/ 78523 h 78522"/>
                  <a:gd name="connsiteX11" fmla="*/ 239559 w 244061"/>
                  <a:gd name="connsiteY11" fmla="*/ 76390 h 78522"/>
                  <a:gd name="connsiteX12" fmla="*/ 237663 w 244061"/>
                  <a:gd name="connsiteY12" fmla="*/ 71324 h 78522"/>
                  <a:gd name="connsiteX13" fmla="*/ 237663 w 244061"/>
                  <a:gd name="connsiteY13" fmla="*/ 62125 h 78522"/>
                  <a:gd name="connsiteX14" fmla="*/ 244061 w 244061"/>
                  <a:gd name="connsiteY14" fmla="*/ 62125 h 78522"/>
                  <a:gd name="connsiteX15" fmla="*/ 244061 w 244061"/>
                  <a:gd name="connsiteY15" fmla="*/ 78389 h 78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4061" h="78522">
                    <a:moveTo>
                      <a:pt x="41704" y="133"/>
                    </a:moveTo>
                    <a:lnTo>
                      <a:pt x="0" y="133"/>
                    </a:lnTo>
                    <a:lnTo>
                      <a:pt x="41704" y="133"/>
                    </a:lnTo>
                    <a:moveTo>
                      <a:pt x="193472" y="7199"/>
                    </a:moveTo>
                    <a:lnTo>
                      <a:pt x="41704" y="7199"/>
                    </a:lnTo>
                    <a:lnTo>
                      <a:pt x="41704" y="0"/>
                    </a:lnTo>
                    <a:lnTo>
                      <a:pt x="169658" y="0"/>
                    </a:lnTo>
                    <a:lnTo>
                      <a:pt x="169658" y="3999"/>
                    </a:lnTo>
                    <a:lnTo>
                      <a:pt x="193472" y="3999"/>
                    </a:lnTo>
                    <a:lnTo>
                      <a:pt x="193472" y="7066"/>
                    </a:lnTo>
                    <a:moveTo>
                      <a:pt x="244061" y="78523"/>
                    </a:moveTo>
                    <a:cubicBezTo>
                      <a:pt x="242402" y="78523"/>
                      <a:pt x="240744" y="77723"/>
                      <a:pt x="239559" y="76390"/>
                    </a:cubicBezTo>
                    <a:cubicBezTo>
                      <a:pt x="238374" y="75056"/>
                      <a:pt x="237663" y="73190"/>
                      <a:pt x="237663" y="71324"/>
                    </a:cubicBezTo>
                    <a:lnTo>
                      <a:pt x="237663" y="62125"/>
                    </a:lnTo>
                    <a:lnTo>
                      <a:pt x="244061" y="62125"/>
                    </a:lnTo>
                    <a:lnTo>
                      <a:pt x="244061" y="78389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141">
              <a:extLst>
                <a:ext uri="{FF2B5EF4-FFF2-40B4-BE49-F238E27FC236}">
                  <a16:creationId xmlns:a16="http://schemas.microsoft.com/office/drawing/2014/main" id="{A4B370F5-69CD-D214-4DAF-8CA81E3BE11E}"/>
                </a:ext>
              </a:extLst>
            </p:cNvPr>
            <p:cNvGrpSpPr/>
            <p:nvPr/>
          </p:nvGrpSpPr>
          <p:grpSpPr>
            <a:xfrm>
              <a:off x="2501116" y="1453152"/>
              <a:ext cx="4720211" cy="1380611"/>
              <a:chOff x="2395082" y="1769093"/>
              <a:chExt cx="4720211" cy="1380611"/>
            </a:xfrm>
            <a:solidFill>
              <a:schemeClr val="accent6">
                <a:alpha val="30000"/>
              </a:schemeClr>
            </a:solidFill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51B44E10-F9E1-52B2-4B1B-08A4936FF305}"/>
                  </a:ext>
                </a:extLst>
              </p:cNvPr>
              <p:cNvSpPr/>
              <p:nvPr/>
            </p:nvSpPr>
            <p:spPr>
              <a:xfrm>
                <a:off x="2401479" y="1769093"/>
                <a:ext cx="4713695" cy="1380478"/>
              </a:xfrm>
              <a:custGeom>
                <a:avLst/>
                <a:gdLst>
                  <a:gd name="connsiteX0" fmla="*/ 1311887 w 4713695"/>
                  <a:gd name="connsiteY0" fmla="*/ 628714 h 1380478"/>
                  <a:gd name="connsiteX1" fmla="*/ 1222912 w 4713695"/>
                  <a:gd name="connsiteY1" fmla="*/ 628714 h 1380478"/>
                  <a:gd name="connsiteX2" fmla="*/ 1222912 w 4713695"/>
                  <a:gd name="connsiteY2" fmla="*/ 626715 h 1380478"/>
                  <a:gd name="connsiteX3" fmla="*/ 1041406 w 4713695"/>
                  <a:gd name="connsiteY3" fmla="*/ 626715 h 1380478"/>
                  <a:gd name="connsiteX4" fmla="*/ 1041406 w 4713695"/>
                  <a:gd name="connsiteY4" fmla="*/ 581521 h 1380478"/>
                  <a:gd name="connsiteX5" fmla="*/ 993779 w 4713695"/>
                  <a:gd name="connsiteY5" fmla="*/ 581521 h 1380478"/>
                  <a:gd name="connsiteX6" fmla="*/ 993779 w 4713695"/>
                  <a:gd name="connsiteY6" fmla="*/ 529395 h 1380478"/>
                  <a:gd name="connsiteX7" fmla="*/ 731828 w 4713695"/>
                  <a:gd name="connsiteY7" fmla="*/ 529395 h 1380478"/>
                  <a:gd name="connsiteX8" fmla="*/ 731828 w 4713695"/>
                  <a:gd name="connsiteY8" fmla="*/ 431408 h 1380478"/>
                  <a:gd name="connsiteX9" fmla="*/ 606835 w 4713695"/>
                  <a:gd name="connsiteY9" fmla="*/ 431408 h 1380478"/>
                  <a:gd name="connsiteX10" fmla="*/ 606835 w 4713695"/>
                  <a:gd name="connsiteY10" fmla="*/ 325289 h 1380478"/>
                  <a:gd name="connsiteX11" fmla="*/ 514542 w 4713695"/>
                  <a:gd name="connsiteY11" fmla="*/ 325289 h 1380478"/>
                  <a:gd name="connsiteX12" fmla="*/ 514542 w 4713695"/>
                  <a:gd name="connsiteY12" fmla="*/ 204505 h 1380478"/>
                  <a:gd name="connsiteX13" fmla="*/ 338961 w 4713695"/>
                  <a:gd name="connsiteY13" fmla="*/ 204505 h 1380478"/>
                  <a:gd name="connsiteX14" fmla="*/ 338961 w 4713695"/>
                  <a:gd name="connsiteY14" fmla="*/ 202106 h 1380478"/>
                  <a:gd name="connsiteX15" fmla="*/ 297257 w 4713695"/>
                  <a:gd name="connsiteY15" fmla="*/ 202106 h 1380478"/>
                  <a:gd name="connsiteX16" fmla="*/ 297257 w 4713695"/>
                  <a:gd name="connsiteY16" fmla="*/ 164778 h 1380478"/>
                  <a:gd name="connsiteX17" fmla="*/ 267519 w 4713695"/>
                  <a:gd name="connsiteY17" fmla="*/ 164778 h 1380478"/>
                  <a:gd name="connsiteX18" fmla="*/ 267519 w 4713695"/>
                  <a:gd name="connsiteY18" fmla="*/ 128782 h 1380478"/>
                  <a:gd name="connsiteX19" fmla="*/ 261596 w 4713695"/>
                  <a:gd name="connsiteY19" fmla="*/ 128782 h 1380478"/>
                  <a:gd name="connsiteX20" fmla="*/ 261596 w 4713695"/>
                  <a:gd name="connsiteY20" fmla="*/ 94387 h 1380478"/>
                  <a:gd name="connsiteX21" fmla="*/ 74048 w 4713695"/>
                  <a:gd name="connsiteY21" fmla="*/ 94387 h 1380478"/>
                  <a:gd name="connsiteX22" fmla="*/ 74048 w 4713695"/>
                  <a:gd name="connsiteY22" fmla="*/ 78389 h 1380478"/>
                  <a:gd name="connsiteX23" fmla="*/ 508263 w 4713695"/>
                  <a:gd name="connsiteY23" fmla="*/ 78389 h 1380478"/>
                  <a:gd name="connsiteX24" fmla="*/ 508263 w 4713695"/>
                  <a:gd name="connsiteY24" fmla="*/ 142647 h 1380478"/>
                  <a:gd name="connsiteX25" fmla="*/ 510159 w 4713695"/>
                  <a:gd name="connsiteY25" fmla="*/ 147713 h 1380478"/>
                  <a:gd name="connsiteX26" fmla="*/ 514661 w 4713695"/>
                  <a:gd name="connsiteY26" fmla="*/ 149846 h 1380478"/>
                  <a:gd name="connsiteX27" fmla="*/ 600674 w 4713695"/>
                  <a:gd name="connsiteY27" fmla="*/ 149846 h 1380478"/>
                  <a:gd name="connsiteX28" fmla="*/ 600674 w 4713695"/>
                  <a:gd name="connsiteY28" fmla="*/ 214104 h 1380478"/>
                  <a:gd name="connsiteX29" fmla="*/ 602570 w 4713695"/>
                  <a:gd name="connsiteY29" fmla="*/ 219170 h 1380478"/>
                  <a:gd name="connsiteX30" fmla="*/ 607072 w 4713695"/>
                  <a:gd name="connsiteY30" fmla="*/ 221303 h 1380478"/>
                  <a:gd name="connsiteX31" fmla="*/ 725667 w 4713695"/>
                  <a:gd name="connsiteY31" fmla="*/ 221303 h 1380478"/>
                  <a:gd name="connsiteX32" fmla="*/ 725667 w 4713695"/>
                  <a:gd name="connsiteY32" fmla="*/ 285561 h 1380478"/>
                  <a:gd name="connsiteX33" fmla="*/ 727563 w 4713695"/>
                  <a:gd name="connsiteY33" fmla="*/ 290627 h 1380478"/>
                  <a:gd name="connsiteX34" fmla="*/ 732065 w 4713695"/>
                  <a:gd name="connsiteY34" fmla="*/ 292760 h 1380478"/>
                  <a:gd name="connsiteX35" fmla="*/ 987618 w 4713695"/>
                  <a:gd name="connsiteY35" fmla="*/ 292760 h 1380478"/>
                  <a:gd name="connsiteX36" fmla="*/ 987618 w 4713695"/>
                  <a:gd name="connsiteY36" fmla="*/ 359684 h 1380478"/>
                  <a:gd name="connsiteX37" fmla="*/ 989514 w 4713695"/>
                  <a:gd name="connsiteY37" fmla="*/ 364750 h 1380478"/>
                  <a:gd name="connsiteX38" fmla="*/ 994016 w 4713695"/>
                  <a:gd name="connsiteY38" fmla="*/ 366883 h 1380478"/>
                  <a:gd name="connsiteX39" fmla="*/ 1216869 w 4713695"/>
                  <a:gd name="connsiteY39" fmla="*/ 366883 h 1380478"/>
                  <a:gd name="connsiteX40" fmla="*/ 1216869 w 4713695"/>
                  <a:gd name="connsiteY40" fmla="*/ 433808 h 1380478"/>
                  <a:gd name="connsiteX41" fmla="*/ 1218765 w 4713695"/>
                  <a:gd name="connsiteY41" fmla="*/ 438874 h 1380478"/>
                  <a:gd name="connsiteX42" fmla="*/ 1223267 w 4713695"/>
                  <a:gd name="connsiteY42" fmla="*/ 441007 h 1380478"/>
                  <a:gd name="connsiteX43" fmla="*/ 1240802 w 4713695"/>
                  <a:gd name="connsiteY43" fmla="*/ 441007 h 1380478"/>
                  <a:gd name="connsiteX44" fmla="*/ 1240802 w 4713695"/>
                  <a:gd name="connsiteY44" fmla="*/ 582054 h 1380478"/>
                  <a:gd name="connsiteX45" fmla="*/ 1242697 w 4713695"/>
                  <a:gd name="connsiteY45" fmla="*/ 587120 h 1380478"/>
                  <a:gd name="connsiteX46" fmla="*/ 1247199 w 4713695"/>
                  <a:gd name="connsiteY46" fmla="*/ 589253 h 1380478"/>
                  <a:gd name="connsiteX47" fmla="*/ 1312243 w 4713695"/>
                  <a:gd name="connsiteY47" fmla="*/ 589253 h 1380478"/>
                  <a:gd name="connsiteX48" fmla="*/ 1312243 w 4713695"/>
                  <a:gd name="connsiteY48" fmla="*/ 628981 h 1380478"/>
                  <a:gd name="connsiteX49" fmla="*/ 2782296 w 4713695"/>
                  <a:gd name="connsiteY49" fmla="*/ 875747 h 1380478"/>
                  <a:gd name="connsiteX50" fmla="*/ 1618859 w 4713695"/>
                  <a:gd name="connsiteY50" fmla="*/ 875747 h 1380478"/>
                  <a:gd name="connsiteX51" fmla="*/ 1618859 w 4713695"/>
                  <a:gd name="connsiteY51" fmla="*/ 824821 h 1380478"/>
                  <a:gd name="connsiteX52" fmla="*/ 1434273 w 4713695"/>
                  <a:gd name="connsiteY52" fmla="*/ 824821 h 1380478"/>
                  <a:gd name="connsiteX53" fmla="*/ 1434273 w 4713695"/>
                  <a:gd name="connsiteY53" fmla="*/ 774561 h 1380478"/>
                  <a:gd name="connsiteX54" fmla="*/ 1416502 w 4713695"/>
                  <a:gd name="connsiteY54" fmla="*/ 774561 h 1380478"/>
                  <a:gd name="connsiteX55" fmla="*/ 1416502 w 4713695"/>
                  <a:gd name="connsiteY55" fmla="*/ 725235 h 1380478"/>
                  <a:gd name="connsiteX56" fmla="*/ 1392688 w 4713695"/>
                  <a:gd name="connsiteY56" fmla="*/ 725235 h 1380478"/>
                  <a:gd name="connsiteX57" fmla="*/ 1392688 w 4713695"/>
                  <a:gd name="connsiteY57" fmla="*/ 676575 h 1380478"/>
                  <a:gd name="connsiteX58" fmla="*/ 1377760 w 4713695"/>
                  <a:gd name="connsiteY58" fmla="*/ 676575 h 1380478"/>
                  <a:gd name="connsiteX59" fmla="*/ 1377760 w 4713695"/>
                  <a:gd name="connsiteY59" fmla="*/ 663110 h 1380478"/>
                  <a:gd name="connsiteX60" fmla="*/ 1963744 w 4713695"/>
                  <a:gd name="connsiteY60" fmla="*/ 663110 h 1380478"/>
                  <a:gd name="connsiteX61" fmla="*/ 1963744 w 4713695"/>
                  <a:gd name="connsiteY61" fmla="*/ 730034 h 1380478"/>
                  <a:gd name="connsiteX62" fmla="*/ 1965639 w 4713695"/>
                  <a:gd name="connsiteY62" fmla="*/ 735100 h 1380478"/>
                  <a:gd name="connsiteX63" fmla="*/ 1970141 w 4713695"/>
                  <a:gd name="connsiteY63" fmla="*/ 737233 h 1380478"/>
                  <a:gd name="connsiteX64" fmla="*/ 2574015 w 4713695"/>
                  <a:gd name="connsiteY64" fmla="*/ 737233 h 1380478"/>
                  <a:gd name="connsiteX65" fmla="*/ 2574015 w 4713695"/>
                  <a:gd name="connsiteY65" fmla="*/ 808157 h 1380478"/>
                  <a:gd name="connsiteX66" fmla="*/ 2575910 w 4713695"/>
                  <a:gd name="connsiteY66" fmla="*/ 813223 h 1380478"/>
                  <a:gd name="connsiteX67" fmla="*/ 2580412 w 4713695"/>
                  <a:gd name="connsiteY67" fmla="*/ 815356 h 1380478"/>
                  <a:gd name="connsiteX68" fmla="*/ 2782414 w 4713695"/>
                  <a:gd name="connsiteY68" fmla="*/ 815356 h 1380478"/>
                  <a:gd name="connsiteX69" fmla="*/ 2782414 w 4713695"/>
                  <a:gd name="connsiteY69" fmla="*/ 875881 h 1380478"/>
                  <a:gd name="connsiteX70" fmla="*/ 4713696 w 4713695"/>
                  <a:gd name="connsiteY70" fmla="*/ 1380479 h 1380478"/>
                  <a:gd name="connsiteX71" fmla="*/ 4713696 w 4713695"/>
                  <a:gd name="connsiteY71" fmla="*/ 875747 h 1380478"/>
                  <a:gd name="connsiteX72" fmla="*/ 2794973 w 4713695"/>
                  <a:gd name="connsiteY72" fmla="*/ 875747 h 1380478"/>
                  <a:gd name="connsiteX73" fmla="*/ 2794973 w 4713695"/>
                  <a:gd name="connsiteY73" fmla="*/ 808023 h 1380478"/>
                  <a:gd name="connsiteX74" fmla="*/ 2793077 w 4713695"/>
                  <a:gd name="connsiteY74" fmla="*/ 802957 h 1380478"/>
                  <a:gd name="connsiteX75" fmla="*/ 2788575 w 4713695"/>
                  <a:gd name="connsiteY75" fmla="*/ 800824 h 1380478"/>
                  <a:gd name="connsiteX76" fmla="*/ 2586573 w 4713695"/>
                  <a:gd name="connsiteY76" fmla="*/ 800824 h 1380478"/>
                  <a:gd name="connsiteX77" fmla="*/ 2586573 w 4713695"/>
                  <a:gd name="connsiteY77" fmla="*/ 729901 h 1380478"/>
                  <a:gd name="connsiteX78" fmla="*/ 2584678 w 4713695"/>
                  <a:gd name="connsiteY78" fmla="*/ 724835 h 1380478"/>
                  <a:gd name="connsiteX79" fmla="*/ 2580175 w 4713695"/>
                  <a:gd name="connsiteY79" fmla="*/ 722702 h 1380478"/>
                  <a:gd name="connsiteX80" fmla="*/ 1976302 w 4713695"/>
                  <a:gd name="connsiteY80" fmla="*/ 722702 h 1380478"/>
                  <a:gd name="connsiteX81" fmla="*/ 1976302 w 4713695"/>
                  <a:gd name="connsiteY81" fmla="*/ 655777 h 1380478"/>
                  <a:gd name="connsiteX82" fmla="*/ 1974406 w 4713695"/>
                  <a:gd name="connsiteY82" fmla="*/ 650711 h 1380478"/>
                  <a:gd name="connsiteX83" fmla="*/ 1969904 w 4713695"/>
                  <a:gd name="connsiteY83" fmla="*/ 648578 h 1380478"/>
                  <a:gd name="connsiteX84" fmla="*/ 1377523 w 4713695"/>
                  <a:gd name="connsiteY84" fmla="*/ 648578 h 1380478"/>
                  <a:gd name="connsiteX85" fmla="*/ 1377523 w 4713695"/>
                  <a:gd name="connsiteY85" fmla="*/ 628448 h 1380478"/>
                  <a:gd name="connsiteX86" fmla="*/ 1324327 w 4713695"/>
                  <a:gd name="connsiteY86" fmla="*/ 628448 h 1380478"/>
                  <a:gd name="connsiteX87" fmla="*/ 1324327 w 4713695"/>
                  <a:gd name="connsiteY87" fmla="*/ 581521 h 1380478"/>
                  <a:gd name="connsiteX88" fmla="*/ 1322432 w 4713695"/>
                  <a:gd name="connsiteY88" fmla="*/ 576455 h 1380478"/>
                  <a:gd name="connsiteX89" fmla="*/ 1317930 w 4713695"/>
                  <a:gd name="connsiteY89" fmla="*/ 574322 h 1380478"/>
                  <a:gd name="connsiteX90" fmla="*/ 1252886 w 4713695"/>
                  <a:gd name="connsiteY90" fmla="*/ 574322 h 1380478"/>
                  <a:gd name="connsiteX91" fmla="*/ 1252886 w 4713695"/>
                  <a:gd name="connsiteY91" fmla="*/ 433141 h 1380478"/>
                  <a:gd name="connsiteX92" fmla="*/ 1250991 w 4713695"/>
                  <a:gd name="connsiteY92" fmla="*/ 428075 h 1380478"/>
                  <a:gd name="connsiteX93" fmla="*/ 1246488 w 4713695"/>
                  <a:gd name="connsiteY93" fmla="*/ 425942 h 1380478"/>
                  <a:gd name="connsiteX94" fmla="*/ 1228954 w 4713695"/>
                  <a:gd name="connsiteY94" fmla="*/ 425942 h 1380478"/>
                  <a:gd name="connsiteX95" fmla="*/ 1228954 w 4713695"/>
                  <a:gd name="connsiteY95" fmla="*/ 359018 h 1380478"/>
                  <a:gd name="connsiteX96" fmla="*/ 1227058 w 4713695"/>
                  <a:gd name="connsiteY96" fmla="*/ 353952 h 1380478"/>
                  <a:gd name="connsiteX97" fmla="*/ 1222556 w 4713695"/>
                  <a:gd name="connsiteY97" fmla="*/ 351819 h 1380478"/>
                  <a:gd name="connsiteX98" fmla="*/ 999702 w 4713695"/>
                  <a:gd name="connsiteY98" fmla="*/ 351819 h 1380478"/>
                  <a:gd name="connsiteX99" fmla="*/ 999702 w 4713695"/>
                  <a:gd name="connsiteY99" fmla="*/ 284895 h 1380478"/>
                  <a:gd name="connsiteX100" fmla="*/ 997807 w 4713695"/>
                  <a:gd name="connsiteY100" fmla="*/ 279829 h 1380478"/>
                  <a:gd name="connsiteX101" fmla="*/ 993305 w 4713695"/>
                  <a:gd name="connsiteY101" fmla="*/ 277696 h 1380478"/>
                  <a:gd name="connsiteX102" fmla="*/ 737752 w 4713695"/>
                  <a:gd name="connsiteY102" fmla="*/ 277696 h 1380478"/>
                  <a:gd name="connsiteX103" fmla="*/ 737752 w 4713695"/>
                  <a:gd name="connsiteY103" fmla="*/ 213438 h 1380478"/>
                  <a:gd name="connsiteX104" fmla="*/ 735856 w 4713695"/>
                  <a:gd name="connsiteY104" fmla="*/ 208372 h 1380478"/>
                  <a:gd name="connsiteX105" fmla="*/ 731354 w 4713695"/>
                  <a:gd name="connsiteY105" fmla="*/ 206239 h 1380478"/>
                  <a:gd name="connsiteX106" fmla="*/ 612759 w 4713695"/>
                  <a:gd name="connsiteY106" fmla="*/ 206239 h 1380478"/>
                  <a:gd name="connsiteX107" fmla="*/ 612759 w 4713695"/>
                  <a:gd name="connsiteY107" fmla="*/ 141981 h 1380478"/>
                  <a:gd name="connsiteX108" fmla="*/ 610863 w 4713695"/>
                  <a:gd name="connsiteY108" fmla="*/ 136915 h 1380478"/>
                  <a:gd name="connsiteX109" fmla="*/ 606361 w 4713695"/>
                  <a:gd name="connsiteY109" fmla="*/ 134782 h 1380478"/>
                  <a:gd name="connsiteX110" fmla="*/ 520348 w 4713695"/>
                  <a:gd name="connsiteY110" fmla="*/ 134782 h 1380478"/>
                  <a:gd name="connsiteX111" fmla="*/ 520348 w 4713695"/>
                  <a:gd name="connsiteY111" fmla="*/ 70524 h 1380478"/>
                  <a:gd name="connsiteX112" fmla="*/ 518452 w 4713695"/>
                  <a:gd name="connsiteY112" fmla="*/ 65458 h 1380478"/>
                  <a:gd name="connsiteX113" fmla="*/ 513950 w 4713695"/>
                  <a:gd name="connsiteY113" fmla="*/ 63325 h 1380478"/>
                  <a:gd name="connsiteX114" fmla="*/ 74048 w 4713695"/>
                  <a:gd name="connsiteY114" fmla="*/ 63325 h 1380478"/>
                  <a:gd name="connsiteX115" fmla="*/ 74048 w 4713695"/>
                  <a:gd name="connsiteY115" fmla="*/ 61325 h 1380478"/>
                  <a:gd name="connsiteX116" fmla="*/ 0 w 4713695"/>
                  <a:gd name="connsiteY116" fmla="*/ 61325 h 1380478"/>
                  <a:gd name="connsiteX117" fmla="*/ 0 w 4713695"/>
                  <a:gd name="connsiteY117" fmla="*/ 0 h 1380478"/>
                  <a:gd name="connsiteX118" fmla="*/ 731828 w 4713695"/>
                  <a:gd name="connsiteY118" fmla="*/ 0 h 1380478"/>
                  <a:gd name="connsiteX119" fmla="*/ 731828 w 4713695"/>
                  <a:gd name="connsiteY119" fmla="*/ 5866 h 1380478"/>
                  <a:gd name="connsiteX120" fmla="*/ 993779 w 4713695"/>
                  <a:gd name="connsiteY120" fmla="*/ 5866 h 1380478"/>
                  <a:gd name="connsiteX121" fmla="*/ 993779 w 4713695"/>
                  <a:gd name="connsiteY121" fmla="*/ 47327 h 1380478"/>
                  <a:gd name="connsiteX122" fmla="*/ 1223030 w 4713695"/>
                  <a:gd name="connsiteY122" fmla="*/ 47327 h 1380478"/>
                  <a:gd name="connsiteX123" fmla="*/ 1223030 w 4713695"/>
                  <a:gd name="connsiteY123" fmla="*/ 93321 h 1380478"/>
                  <a:gd name="connsiteX124" fmla="*/ 1246844 w 4713695"/>
                  <a:gd name="connsiteY124" fmla="*/ 93321 h 1380478"/>
                  <a:gd name="connsiteX125" fmla="*/ 1246844 w 4713695"/>
                  <a:gd name="connsiteY125" fmla="*/ 195573 h 1380478"/>
                  <a:gd name="connsiteX126" fmla="*/ 1318285 w 4713695"/>
                  <a:gd name="connsiteY126" fmla="*/ 195573 h 1380478"/>
                  <a:gd name="connsiteX127" fmla="*/ 1318285 w 4713695"/>
                  <a:gd name="connsiteY127" fmla="*/ 250766 h 1380478"/>
                  <a:gd name="connsiteX128" fmla="*/ 1970141 w 4713695"/>
                  <a:gd name="connsiteY128" fmla="*/ 250766 h 1380478"/>
                  <a:gd name="connsiteX129" fmla="*/ 1970141 w 4713695"/>
                  <a:gd name="connsiteY129" fmla="*/ 308358 h 1380478"/>
                  <a:gd name="connsiteX130" fmla="*/ 2580294 w 4713695"/>
                  <a:gd name="connsiteY130" fmla="*/ 308358 h 1380478"/>
                  <a:gd name="connsiteX131" fmla="*/ 2580294 w 4713695"/>
                  <a:gd name="connsiteY131" fmla="*/ 369416 h 1380478"/>
                  <a:gd name="connsiteX132" fmla="*/ 2788575 w 4713695"/>
                  <a:gd name="connsiteY132" fmla="*/ 369416 h 1380478"/>
                  <a:gd name="connsiteX133" fmla="*/ 2788575 w 4713695"/>
                  <a:gd name="connsiteY133" fmla="*/ 432741 h 1380478"/>
                  <a:gd name="connsiteX134" fmla="*/ 2833241 w 4713695"/>
                  <a:gd name="connsiteY134" fmla="*/ 432741 h 1380478"/>
                  <a:gd name="connsiteX135" fmla="*/ 2833241 w 4713695"/>
                  <a:gd name="connsiteY135" fmla="*/ 498199 h 1380478"/>
                  <a:gd name="connsiteX136" fmla="*/ 3017826 w 4713695"/>
                  <a:gd name="connsiteY136" fmla="*/ 498199 h 1380478"/>
                  <a:gd name="connsiteX137" fmla="*/ 3017826 w 4713695"/>
                  <a:gd name="connsiteY137" fmla="*/ 565790 h 1380478"/>
                  <a:gd name="connsiteX138" fmla="*/ 4713696 w 4713695"/>
                  <a:gd name="connsiteY138" fmla="*/ 565790 h 1380478"/>
                  <a:gd name="connsiteX139" fmla="*/ 4713696 w 4713695"/>
                  <a:gd name="connsiteY139" fmla="*/ 1380479 h 1380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4713695" h="1380478">
                    <a:moveTo>
                      <a:pt x="1311887" y="628714"/>
                    </a:moveTo>
                    <a:lnTo>
                      <a:pt x="1222912" y="628714"/>
                    </a:lnTo>
                    <a:lnTo>
                      <a:pt x="1222912" y="626715"/>
                    </a:lnTo>
                    <a:lnTo>
                      <a:pt x="1041406" y="626715"/>
                    </a:lnTo>
                    <a:lnTo>
                      <a:pt x="1041406" y="581521"/>
                    </a:lnTo>
                    <a:lnTo>
                      <a:pt x="993779" y="581521"/>
                    </a:lnTo>
                    <a:lnTo>
                      <a:pt x="993779" y="529395"/>
                    </a:lnTo>
                    <a:lnTo>
                      <a:pt x="731828" y="529395"/>
                    </a:lnTo>
                    <a:lnTo>
                      <a:pt x="731828" y="431408"/>
                    </a:lnTo>
                    <a:lnTo>
                      <a:pt x="606835" y="431408"/>
                    </a:lnTo>
                    <a:lnTo>
                      <a:pt x="606835" y="325289"/>
                    </a:lnTo>
                    <a:lnTo>
                      <a:pt x="514542" y="325289"/>
                    </a:lnTo>
                    <a:lnTo>
                      <a:pt x="514542" y="204505"/>
                    </a:lnTo>
                    <a:lnTo>
                      <a:pt x="338961" y="204505"/>
                    </a:lnTo>
                    <a:lnTo>
                      <a:pt x="338961" y="202106"/>
                    </a:lnTo>
                    <a:lnTo>
                      <a:pt x="297257" y="202106"/>
                    </a:lnTo>
                    <a:lnTo>
                      <a:pt x="297257" y="164778"/>
                    </a:lnTo>
                    <a:lnTo>
                      <a:pt x="267519" y="164778"/>
                    </a:lnTo>
                    <a:lnTo>
                      <a:pt x="267519" y="128782"/>
                    </a:lnTo>
                    <a:lnTo>
                      <a:pt x="261596" y="128782"/>
                    </a:lnTo>
                    <a:lnTo>
                      <a:pt x="261596" y="94387"/>
                    </a:lnTo>
                    <a:lnTo>
                      <a:pt x="74048" y="94387"/>
                    </a:lnTo>
                    <a:lnTo>
                      <a:pt x="74048" y="78389"/>
                    </a:lnTo>
                    <a:lnTo>
                      <a:pt x="508263" y="78389"/>
                    </a:lnTo>
                    <a:lnTo>
                      <a:pt x="508263" y="142647"/>
                    </a:lnTo>
                    <a:cubicBezTo>
                      <a:pt x="508263" y="144514"/>
                      <a:pt x="508974" y="146380"/>
                      <a:pt x="510159" y="147713"/>
                    </a:cubicBezTo>
                    <a:cubicBezTo>
                      <a:pt x="511343" y="149046"/>
                      <a:pt x="513002" y="149846"/>
                      <a:pt x="514661" y="149846"/>
                    </a:cubicBezTo>
                    <a:lnTo>
                      <a:pt x="600674" y="149846"/>
                    </a:lnTo>
                    <a:lnTo>
                      <a:pt x="600674" y="214104"/>
                    </a:lnTo>
                    <a:cubicBezTo>
                      <a:pt x="600674" y="215971"/>
                      <a:pt x="601385" y="217837"/>
                      <a:pt x="602570" y="219170"/>
                    </a:cubicBezTo>
                    <a:cubicBezTo>
                      <a:pt x="603755" y="220503"/>
                      <a:pt x="605414" y="221303"/>
                      <a:pt x="607072" y="221303"/>
                    </a:cubicBezTo>
                    <a:lnTo>
                      <a:pt x="725667" y="221303"/>
                    </a:lnTo>
                    <a:lnTo>
                      <a:pt x="725667" y="285561"/>
                    </a:lnTo>
                    <a:cubicBezTo>
                      <a:pt x="725667" y="287428"/>
                      <a:pt x="726378" y="289294"/>
                      <a:pt x="727563" y="290627"/>
                    </a:cubicBezTo>
                    <a:cubicBezTo>
                      <a:pt x="728747" y="291960"/>
                      <a:pt x="730406" y="292760"/>
                      <a:pt x="732065" y="292760"/>
                    </a:cubicBezTo>
                    <a:lnTo>
                      <a:pt x="987618" y="292760"/>
                    </a:lnTo>
                    <a:lnTo>
                      <a:pt x="987618" y="359684"/>
                    </a:lnTo>
                    <a:cubicBezTo>
                      <a:pt x="987618" y="361551"/>
                      <a:pt x="988329" y="363417"/>
                      <a:pt x="989514" y="364750"/>
                    </a:cubicBezTo>
                    <a:cubicBezTo>
                      <a:pt x="990698" y="366083"/>
                      <a:pt x="992357" y="366883"/>
                      <a:pt x="994016" y="366883"/>
                    </a:cubicBezTo>
                    <a:lnTo>
                      <a:pt x="1216869" y="366883"/>
                    </a:lnTo>
                    <a:lnTo>
                      <a:pt x="1216869" y="433808"/>
                    </a:lnTo>
                    <a:cubicBezTo>
                      <a:pt x="1216869" y="435674"/>
                      <a:pt x="1217580" y="437540"/>
                      <a:pt x="1218765" y="438874"/>
                    </a:cubicBezTo>
                    <a:cubicBezTo>
                      <a:pt x="1219950" y="440207"/>
                      <a:pt x="1221608" y="441007"/>
                      <a:pt x="1223267" y="441007"/>
                    </a:cubicBezTo>
                    <a:lnTo>
                      <a:pt x="1240802" y="441007"/>
                    </a:lnTo>
                    <a:lnTo>
                      <a:pt x="1240802" y="582054"/>
                    </a:lnTo>
                    <a:cubicBezTo>
                      <a:pt x="1240802" y="583920"/>
                      <a:pt x="1241512" y="585787"/>
                      <a:pt x="1242697" y="587120"/>
                    </a:cubicBezTo>
                    <a:cubicBezTo>
                      <a:pt x="1243882" y="588453"/>
                      <a:pt x="1245541" y="589253"/>
                      <a:pt x="1247199" y="589253"/>
                    </a:cubicBezTo>
                    <a:lnTo>
                      <a:pt x="1312243" y="589253"/>
                    </a:lnTo>
                    <a:lnTo>
                      <a:pt x="1312243" y="628981"/>
                    </a:lnTo>
                    <a:moveTo>
                      <a:pt x="2782296" y="875747"/>
                    </a:moveTo>
                    <a:lnTo>
                      <a:pt x="1618859" y="875747"/>
                    </a:lnTo>
                    <a:lnTo>
                      <a:pt x="1618859" y="824821"/>
                    </a:lnTo>
                    <a:lnTo>
                      <a:pt x="1434273" y="824821"/>
                    </a:lnTo>
                    <a:lnTo>
                      <a:pt x="1434273" y="774561"/>
                    </a:lnTo>
                    <a:lnTo>
                      <a:pt x="1416502" y="774561"/>
                    </a:lnTo>
                    <a:lnTo>
                      <a:pt x="1416502" y="725235"/>
                    </a:lnTo>
                    <a:lnTo>
                      <a:pt x="1392688" y="725235"/>
                    </a:lnTo>
                    <a:lnTo>
                      <a:pt x="1392688" y="676575"/>
                    </a:lnTo>
                    <a:lnTo>
                      <a:pt x="1377760" y="676575"/>
                    </a:lnTo>
                    <a:lnTo>
                      <a:pt x="1377760" y="663110"/>
                    </a:lnTo>
                    <a:lnTo>
                      <a:pt x="1963744" y="663110"/>
                    </a:lnTo>
                    <a:lnTo>
                      <a:pt x="1963744" y="730034"/>
                    </a:lnTo>
                    <a:cubicBezTo>
                      <a:pt x="1963744" y="731900"/>
                      <a:pt x="1964454" y="733767"/>
                      <a:pt x="1965639" y="735100"/>
                    </a:cubicBezTo>
                    <a:cubicBezTo>
                      <a:pt x="1966824" y="736433"/>
                      <a:pt x="1968483" y="737233"/>
                      <a:pt x="1970141" y="737233"/>
                    </a:cubicBezTo>
                    <a:lnTo>
                      <a:pt x="2574015" y="737233"/>
                    </a:lnTo>
                    <a:lnTo>
                      <a:pt x="2574015" y="808157"/>
                    </a:lnTo>
                    <a:cubicBezTo>
                      <a:pt x="2574015" y="810023"/>
                      <a:pt x="2574726" y="811889"/>
                      <a:pt x="2575910" y="813223"/>
                    </a:cubicBezTo>
                    <a:cubicBezTo>
                      <a:pt x="2577095" y="814556"/>
                      <a:pt x="2578754" y="815356"/>
                      <a:pt x="2580412" y="815356"/>
                    </a:cubicBezTo>
                    <a:lnTo>
                      <a:pt x="2782414" y="815356"/>
                    </a:lnTo>
                    <a:lnTo>
                      <a:pt x="2782414" y="875881"/>
                    </a:lnTo>
                    <a:moveTo>
                      <a:pt x="4713696" y="1380479"/>
                    </a:moveTo>
                    <a:lnTo>
                      <a:pt x="4713696" y="875747"/>
                    </a:lnTo>
                    <a:lnTo>
                      <a:pt x="2794973" y="875747"/>
                    </a:lnTo>
                    <a:lnTo>
                      <a:pt x="2794973" y="808023"/>
                    </a:lnTo>
                    <a:cubicBezTo>
                      <a:pt x="2794973" y="806157"/>
                      <a:pt x="2794262" y="804290"/>
                      <a:pt x="2793077" y="802957"/>
                    </a:cubicBezTo>
                    <a:cubicBezTo>
                      <a:pt x="2791893" y="801624"/>
                      <a:pt x="2790234" y="800824"/>
                      <a:pt x="2788575" y="800824"/>
                    </a:cubicBezTo>
                    <a:lnTo>
                      <a:pt x="2586573" y="800824"/>
                    </a:lnTo>
                    <a:lnTo>
                      <a:pt x="2586573" y="729901"/>
                    </a:lnTo>
                    <a:cubicBezTo>
                      <a:pt x="2586573" y="728034"/>
                      <a:pt x="2585862" y="726168"/>
                      <a:pt x="2584678" y="724835"/>
                    </a:cubicBezTo>
                    <a:cubicBezTo>
                      <a:pt x="2583493" y="723501"/>
                      <a:pt x="2581834" y="722702"/>
                      <a:pt x="2580175" y="722702"/>
                    </a:cubicBezTo>
                    <a:lnTo>
                      <a:pt x="1976302" y="722702"/>
                    </a:lnTo>
                    <a:lnTo>
                      <a:pt x="1976302" y="655777"/>
                    </a:lnTo>
                    <a:cubicBezTo>
                      <a:pt x="1976302" y="653911"/>
                      <a:pt x="1975591" y="652045"/>
                      <a:pt x="1974406" y="650711"/>
                    </a:cubicBezTo>
                    <a:cubicBezTo>
                      <a:pt x="1973222" y="649378"/>
                      <a:pt x="1971563" y="648578"/>
                      <a:pt x="1969904" y="648578"/>
                    </a:cubicBezTo>
                    <a:lnTo>
                      <a:pt x="1377523" y="648578"/>
                    </a:lnTo>
                    <a:lnTo>
                      <a:pt x="1377523" y="628448"/>
                    </a:lnTo>
                    <a:lnTo>
                      <a:pt x="1324327" y="628448"/>
                    </a:lnTo>
                    <a:lnTo>
                      <a:pt x="1324327" y="581521"/>
                    </a:lnTo>
                    <a:cubicBezTo>
                      <a:pt x="1324327" y="579654"/>
                      <a:pt x="1323617" y="577788"/>
                      <a:pt x="1322432" y="576455"/>
                    </a:cubicBezTo>
                    <a:cubicBezTo>
                      <a:pt x="1321247" y="575122"/>
                      <a:pt x="1319588" y="574322"/>
                      <a:pt x="1317930" y="574322"/>
                    </a:cubicBezTo>
                    <a:lnTo>
                      <a:pt x="1252886" y="574322"/>
                    </a:lnTo>
                    <a:lnTo>
                      <a:pt x="1252886" y="433141"/>
                    </a:lnTo>
                    <a:cubicBezTo>
                      <a:pt x="1252886" y="431275"/>
                      <a:pt x="1252175" y="429408"/>
                      <a:pt x="1250991" y="428075"/>
                    </a:cubicBezTo>
                    <a:cubicBezTo>
                      <a:pt x="1249806" y="426742"/>
                      <a:pt x="1248147" y="425942"/>
                      <a:pt x="1246488" y="425942"/>
                    </a:cubicBezTo>
                    <a:lnTo>
                      <a:pt x="1228954" y="425942"/>
                    </a:lnTo>
                    <a:lnTo>
                      <a:pt x="1228954" y="359018"/>
                    </a:lnTo>
                    <a:cubicBezTo>
                      <a:pt x="1228954" y="357151"/>
                      <a:pt x="1228243" y="355285"/>
                      <a:pt x="1227058" y="353952"/>
                    </a:cubicBezTo>
                    <a:cubicBezTo>
                      <a:pt x="1225874" y="352619"/>
                      <a:pt x="1224215" y="351819"/>
                      <a:pt x="1222556" y="351819"/>
                    </a:cubicBezTo>
                    <a:lnTo>
                      <a:pt x="999702" y="351819"/>
                    </a:lnTo>
                    <a:lnTo>
                      <a:pt x="999702" y="284895"/>
                    </a:lnTo>
                    <a:cubicBezTo>
                      <a:pt x="999702" y="283028"/>
                      <a:pt x="998992" y="281162"/>
                      <a:pt x="997807" y="279829"/>
                    </a:cubicBezTo>
                    <a:cubicBezTo>
                      <a:pt x="996622" y="278495"/>
                      <a:pt x="994963" y="277696"/>
                      <a:pt x="993305" y="277696"/>
                    </a:cubicBezTo>
                    <a:lnTo>
                      <a:pt x="737752" y="277696"/>
                    </a:lnTo>
                    <a:lnTo>
                      <a:pt x="737752" y="213438"/>
                    </a:lnTo>
                    <a:cubicBezTo>
                      <a:pt x="737752" y="211571"/>
                      <a:pt x="737041" y="209705"/>
                      <a:pt x="735856" y="208372"/>
                    </a:cubicBezTo>
                    <a:cubicBezTo>
                      <a:pt x="734671" y="207038"/>
                      <a:pt x="733012" y="206239"/>
                      <a:pt x="731354" y="206239"/>
                    </a:cubicBezTo>
                    <a:lnTo>
                      <a:pt x="612759" y="206239"/>
                    </a:lnTo>
                    <a:lnTo>
                      <a:pt x="612759" y="141981"/>
                    </a:lnTo>
                    <a:cubicBezTo>
                      <a:pt x="612759" y="140114"/>
                      <a:pt x="612048" y="138248"/>
                      <a:pt x="610863" y="136915"/>
                    </a:cubicBezTo>
                    <a:cubicBezTo>
                      <a:pt x="609679" y="135582"/>
                      <a:pt x="608020" y="134782"/>
                      <a:pt x="606361" y="134782"/>
                    </a:cubicBezTo>
                    <a:lnTo>
                      <a:pt x="520348" y="134782"/>
                    </a:lnTo>
                    <a:lnTo>
                      <a:pt x="520348" y="70524"/>
                    </a:lnTo>
                    <a:cubicBezTo>
                      <a:pt x="520348" y="68657"/>
                      <a:pt x="519637" y="66791"/>
                      <a:pt x="518452" y="65458"/>
                    </a:cubicBezTo>
                    <a:cubicBezTo>
                      <a:pt x="517267" y="64125"/>
                      <a:pt x="515609" y="63325"/>
                      <a:pt x="513950" y="63325"/>
                    </a:cubicBezTo>
                    <a:lnTo>
                      <a:pt x="74048" y="63325"/>
                    </a:lnTo>
                    <a:lnTo>
                      <a:pt x="74048" y="61325"/>
                    </a:lnTo>
                    <a:lnTo>
                      <a:pt x="0" y="61325"/>
                    </a:lnTo>
                    <a:lnTo>
                      <a:pt x="0" y="0"/>
                    </a:lnTo>
                    <a:lnTo>
                      <a:pt x="731828" y="0"/>
                    </a:lnTo>
                    <a:lnTo>
                      <a:pt x="731828" y="5866"/>
                    </a:lnTo>
                    <a:lnTo>
                      <a:pt x="993779" y="5866"/>
                    </a:lnTo>
                    <a:lnTo>
                      <a:pt x="993779" y="47327"/>
                    </a:lnTo>
                    <a:lnTo>
                      <a:pt x="1223030" y="47327"/>
                    </a:lnTo>
                    <a:lnTo>
                      <a:pt x="1223030" y="93321"/>
                    </a:lnTo>
                    <a:lnTo>
                      <a:pt x="1246844" y="93321"/>
                    </a:lnTo>
                    <a:lnTo>
                      <a:pt x="1246844" y="195573"/>
                    </a:lnTo>
                    <a:lnTo>
                      <a:pt x="1318285" y="195573"/>
                    </a:lnTo>
                    <a:lnTo>
                      <a:pt x="1318285" y="250766"/>
                    </a:lnTo>
                    <a:lnTo>
                      <a:pt x="1970141" y="250766"/>
                    </a:lnTo>
                    <a:lnTo>
                      <a:pt x="1970141" y="308358"/>
                    </a:lnTo>
                    <a:lnTo>
                      <a:pt x="2580294" y="308358"/>
                    </a:lnTo>
                    <a:lnTo>
                      <a:pt x="2580294" y="369416"/>
                    </a:lnTo>
                    <a:lnTo>
                      <a:pt x="2788575" y="369416"/>
                    </a:lnTo>
                    <a:lnTo>
                      <a:pt x="2788575" y="432741"/>
                    </a:lnTo>
                    <a:lnTo>
                      <a:pt x="2833241" y="432741"/>
                    </a:lnTo>
                    <a:lnTo>
                      <a:pt x="2833241" y="498199"/>
                    </a:lnTo>
                    <a:lnTo>
                      <a:pt x="3017826" y="498199"/>
                    </a:lnTo>
                    <a:lnTo>
                      <a:pt x="3017826" y="565790"/>
                    </a:lnTo>
                    <a:lnTo>
                      <a:pt x="4713696" y="565790"/>
                    </a:lnTo>
                    <a:lnTo>
                      <a:pt x="4713696" y="1380479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A56F43D6-30B1-2AA3-5B05-C0F934AF1E88}"/>
                  </a:ext>
                </a:extLst>
              </p:cNvPr>
              <p:cNvSpPr/>
              <p:nvPr/>
            </p:nvSpPr>
            <p:spPr>
              <a:xfrm>
                <a:off x="2395082" y="1831217"/>
                <a:ext cx="1384157" cy="586720"/>
              </a:xfrm>
              <a:custGeom>
                <a:avLst/>
                <a:gdLst>
                  <a:gd name="connsiteX0" fmla="*/ 80445 w 1384157"/>
                  <a:gd name="connsiteY0" fmla="*/ 2000 h 586720"/>
                  <a:gd name="connsiteX1" fmla="*/ 6398 w 1384157"/>
                  <a:gd name="connsiteY1" fmla="*/ 2000 h 586720"/>
                  <a:gd name="connsiteX2" fmla="*/ 6398 w 1384157"/>
                  <a:gd name="connsiteY2" fmla="*/ 0 h 586720"/>
                  <a:gd name="connsiteX3" fmla="*/ 80445 w 1384157"/>
                  <a:gd name="connsiteY3" fmla="*/ 0 h 586720"/>
                  <a:gd name="connsiteX4" fmla="*/ 80445 w 1384157"/>
                  <a:gd name="connsiteY4" fmla="*/ 2000 h 586720"/>
                  <a:gd name="connsiteX5" fmla="*/ 345240 w 1384157"/>
                  <a:gd name="connsiteY5" fmla="*/ 142514 h 586720"/>
                  <a:gd name="connsiteX6" fmla="*/ 0 w 1384157"/>
                  <a:gd name="connsiteY6" fmla="*/ 142514 h 586720"/>
                  <a:gd name="connsiteX7" fmla="*/ 0 w 1384157"/>
                  <a:gd name="connsiteY7" fmla="*/ 16264 h 586720"/>
                  <a:gd name="connsiteX8" fmla="*/ 80327 w 1384157"/>
                  <a:gd name="connsiteY8" fmla="*/ 16264 h 586720"/>
                  <a:gd name="connsiteX9" fmla="*/ 80327 w 1384157"/>
                  <a:gd name="connsiteY9" fmla="*/ 32262 h 586720"/>
                  <a:gd name="connsiteX10" fmla="*/ 267875 w 1384157"/>
                  <a:gd name="connsiteY10" fmla="*/ 32262 h 586720"/>
                  <a:gd name="connsiteX11" fmla="*/ 267875 w 1384157"/>
                  <a:gd name="connsiteY11" fmla="*/ 66658 h 586720"/>
                  <a:gd name="connsiteX12" fmla="*/ 273799 w 1384157"/>
                  <a:gd name="connsiteY12" fmla="*/ 66658 h 586720"/>
                  <a:gd name="connsiteX13" fmla="*/ 273799 w 1384157"/>
                  <a:gd name="connsiteY13" fmla="*/ 102653 h 586720"/>
                  <a:gd name="connsiteX14" fmla="*/ 303536 w 1384157"/>
                  <a:gd name="connsiteY14" fmla="*/ 102653 h 586720"/>
                  <a:gd name="connsiteX15" fmla="*/ 303536 w 1384157"/>
                  <a:gd name="connsiteY15" fmla="*/ 139981 h 586720"/>
                  <a:gd name="connsiteX16" fmla="*/ 345240 w 1384157"/>
                  <a:gd name="connsiteY16" fmla="*/ 139981 h 586720"/>
                  <a:gd name="connsiteX17" fmla="*/ 345240 w 1384157"/>
                  <a:gd name="connsiteY17" fmla="*/ 142381 h 586720"/>
                  <a:gd name="connsiteX18" fmla="*/ 1047804 w 1384157"/>
                  <a:gd name="connsiteY18" fmla="*/ 564723 h 586720"/>
                  <a:gd name="connsiteX19" fmla="*/ 1000176 w 1384157"/>
                  <a:gd name="connsiteY19" fmla="*/ 564723 h 586720"/>
                  <a:gd name="connsiteX20" fmla="*/ 1000176 w 1384157"/>
                  <a:gd name="connsiteY20" fmla="*/ 519529 h 586720"/>
                  <a:gd name="connsiteX21" fmla="*/ 1047804 w 1384157"/>
                  <a:gd name="connsiteY21" fmla="*/ 519529 h 586720"/>
                  <a:gd name="connsiteX22" fmla="*/ 1047804 w 1384157"/>
                  <a:gd name="connsiteY22" fmla="*/ 564723 h 586720"/>
                  <a:gd name="connsiteX23" fmla="*/ 1384158 w 1384157"/>
                  <a:gd name="connsiteY23" fmla="*/ 586720 h 586720"/>
                  <a:gd name="connsiteX24" fmla="*/ 1330962 w 1384157"/>
                  <a:gd name="connsiteY24" fmla="*/ 586720 h 586720"/>
                  <a:gd name="connsiteX25" fmla="*/ 1330962 w 1384157"/>
                  <a:gd name="connsiteY25" fmla="*/ 566590 h 586720"/>
                  <a:gd name="connsiteX26" fmla="*/ 1384158 w 1384157"/>
                  <a:gd name="connsiteY26" fmla="*/ 566590 h 586720"/>
                  <a:gd name="connsiteX27" fmla="*/ 1384158 w 1384157"/>
                  <a:gd name="connsiteY27" fmla="*/ 586720 h 586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84157" h="586720">
                    <a:moveTo>
                      <a:pt x="80445" y="2000"/>
                    </a:moveTo>
                    <a:lnTo>
                      <a:pt x="6398" y="2000"/>
                    </a:lnTo>
                    <a:lnTo>
                      <a:pt x="6398" y="0"/>
                    </a:lnTo>
                    <a:lnTo>
                      <a:pt x="80445" y="0"/>
                    </a:lnTo>
                    <a:lnTo>
                      <a:pt x="80445" y="2000"/>
                    </a:lnTo>
                    <a:moveTo>
                      <a:pt x="345240" y="142514"/>
                    </a:moveTo>
                    <a:lnTo>
                      <a:pt x="0" y="142514"/>
                    </a:lnTo>
                    <a:lnTo>
                      <a:pt x="0" y="16264"/>
                    </a:lnTo>
                    <a:lnTo>
                      <a:pt x="80327" y="16264"/>
                    </a:lnTo>
                    <a:lnTo>
                      <a:pt x="80327" y="32262"/>
                    </a:lnTo>
                    <a:lnTo>
                      <a:pt x="267875" y="32262"/>
                    </a:lnTo>
                    <a:lnTo>
                      <a:pt x="267875" y="66658"/>
                    </a:lnTo>
                    <a:lnTo>
                      <a:pt x="273799" y="66658"/>
                    </a:lnTo>
                    <a:lnTo>
                      <a:pt x="273799" y="102653"/>
                    </a:lnTo>
                    <a:lnTo>
                      <a:pt x="303536" y="102653"/>
                    </a:lnTo>
                    <a:lnTo>
                      <a:pt x="303536" y="139981"/>
                    </a:lnTo>
                    <a:lnTo>
                      <a:pt x="345240" y="139981"/>
                    </a:lnTo>
                    <a:lnTo>
                      <a:pt x="345240" y="142381"/>
                    </a:lnTo>
                    <a:moveTo>
                      <a:pt x="1047804" y="564723"/>
                    </a:moveTo>
                    <a:lnTo>
                      <a:pt x="1000176" y="564723"/>
                    </a:lnTo>
                    <a:lnTo>
                      <a:pt x="1000176" y="519529"/>
                    </a:lnTo>
                    <a:lnTo>
                      <a:pt x="1047804" y="519529"/>
                    </a:lnTo>
                    <a:lnTo>
                      <a:pt x="1047804" y="564723"/>
                    </a:lnTo>
                    <a:moveTo>
                      <a:pt x="1384158" y="586720"/>
                    </a:moveTo>
                    <a:lnTo>
                      <a:pt x="1330962" y="586720"/>
                    </a:lnTo>
                    <a:lnTo>
                      <a:pt x="1330962" y="566590"/>
                    </a:lnTo>
                    <a:lnTo>
                      <a:pt x="1384158" y="566590"/>
                    </a:lnTo>
                    <a:lnTo>
                      <a:pt x="1384158" y="586720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F939ECB8-F9A9-741B-1094-CFB668632E34}"/>
                  </a:ext>
                </a:extLst>
              </p:cNvPr>
              <p:cNvSpPr/>
              <p:nvPr/>
            </p:nvSpPr>
            <p:spPr>
              <a:xfrm>
                <a:off x="3624509" y="2397940"/>
                <a:ext cx="3490783" cy="751764"/>
              </a:xfrm>
              <a:custGeom>
                <a:avLst/>
                <a:gdLst>
                  <a:gd name="connsiteX0" fmla="*/ 3490665 w 3490783"/>
                  <a:gd name="connsiteY0" fmla="*/ 751631 h 751764"/>
                  <a:gd name="connsiteX1" fmla="*/ 1794796 w 3490783"/>
                  <a:gd name="connsiteY1" fmla="*/ 751631 h 751764"/>
                  <a:gd name="connsiteX2" fmla="*/ 1794796 w 3490783"/>
                  <a:gd name="connsiteY2" fmla="*/ 674442 h 751764"/>
                  <a:gd name="connsiteX3" fmla="*/ 1610210 w 3490783"/>
                  <a:gd name="connsiteY3" fmla="*/ 674442 h 751764"/>
                  <a:gd name="connsiteX4" fmla="*/ 1610210 w 3490783"/>
                  <a:gd name="connsiteY4" fmla="*/ 643779 h 751764"/>
                  <a:gd name="connsiteX5" fmla="*/ 3490665 w 3490783"/>
                  <a:gd name="connsiteY5" fmla="*/ 643779 h 751764"/>
                  <a:gd name="connsiteX6" fmla="*/ 3490665 w 3490783"/>
                  <a:gd name="connsiteY6" fmla="*/ 629514 h 751764"/>
                  <a:gd name="connsiteX7" fmla="*/ 1610210 w 3490783"/>
                  <a:gd name="connsiteY7" fmla="*/ 629514 h 751764"/>
                  <a:gd name="connsiteX8" fmla="*/ 1610210 w 3490783"/>
                  <a:gd name="connsiteY8" fmla="*/ 595119 h 751764"/>
                  <a:gd name="connsiteX9" fmla="*/ 1565545 w 3490783"/>
                  <a:gd name="connsiteY9" fmla="*/ 595119 h 751764"/>
                  <a:gd name="connsiteX10" fmla="*/ 1565545 w 3490783"/>
                  <a:gd name="connsiteY10" fmla="*/ 513530 h 751764"/>
                  <a:gd name="connsiteX11" fmla="*/ 1357264 w 3490783"/>
                  <a:gd name="connsiteY11" fmla="*/ 513530 h 751764"/>
                  <a:gd name="connsiteX12" fmla="*/ 1357264 w 3490783"/>
                  <a:gd name="connsiteY12" fmla="*/ 429542 h 751764"/>
                  <a:gd name="connsiteX13" fmla="*/ 747111 w 3490783"/>
                  <a:gd name="connsiteY13" fmla="*/ 429542 h 751764"/>
                  <a:gd name="connsiteX14" fmla="*/ 747111 w 3490783"/>
                  <a:gd name="connsiteY14" fmla="*/ 348619 h 751764"/>
                  <a:gd name="connsiteX15" fmla="*/ 95255 w 3490783"/>
                  <a:gd name="connsiteY15" fmla="*/ 348619 h 751764"/>
                  <a:gd name="connsiteX16" fmla="*/ 95255 w 3490783"/>
                  <a:gd name="connsiteY16" fmla="*/ 265297 h 751764"/>
                  <a:gd name="connsiteX17" fmla="*/ 23814 w 3490783"/>
                  <a:gd name="connsiteY17" fmla="*/ 265297 h 751764"/>
                  <a:gd name="connsiteX18" fmla="*/ 23814 w 3490783"/>
                  <a:gd name="connsiteY18" fmla="*/ 90521 h 751764"/>
                  <a:gd name="connsiteX19" fmla="*/ 0 w 3490783"/>
                  <a:gd name="connsiteY19" fmla="*/ 90521 h 751764"/>
                  <a:gd name="connsiteX20" fmla="*/ 0 w 3490783"/>
                  <a:gd name="connsiteY20" fmla="*/ 0 h 751764"/>
                  <a:gd name="connsiteX21" fmla="*/ 88976 w 3490783"/>
                  <a:gd name="connsiteY21" fmla="*/ 0 h 751764"/>
                  <a:gd name="connsiteX22" fmla="*/ 88976 w 3490783"/>
                  <a:gd name="connsiteY22" fmla="*/ 27196 h 751764"/>
                  <a:gd name="connsiteX23" fmla="*/ 90871 w 3490783"/>
                  <a:gd name="connsiteY23" fmla="*/ 32262 h 751764"/>
                  <a:gd name="connsiteX24" fmla="*/ 95373 w 3490783"/>
                  <a:gd name="connsiteY24" fmla="*/ 34395 h 751764"/>
                  <a:gd name="connsiteX25" fmla="*/ 154848 w 3490783"/>
                  <a:gd name="connsiteY25" fmla="*/ 34395 h 751764"/>
                  <a:gd name="connsiteX26" fmla="*/ 154848 w 3490783"/>
                  <a:gd name="connsiteY26" fmla="*/ 47860 h 751764"/>
                  <a:gd name="connsiteX27" fmla="*/ 169776 w 3490783"/>
                  <a:gd name="connsiteY27" fmla="*/ 47860 h 751764"/>
                  <a:gd name="connsiteX28" fmla="*/ 169776 w 3490783"/>
                  <a:gd name="connsiteY28" fmla="*/ 96520 h 751764"/>
                  <a:gd name="connsiteX29" fmla="*/ 193590 w 3490783"/>
                  <a:gd name="connsiteY29" fmla="*/ 96520 h 751764"/>
                  <a:gd name="connsiteX30" fmla="*/ 193590 w 3490783"/>
                  <a:gd name="connsiteY30" fmla="*/ 145847 h 751764"/>
                  <a:gd name="connsiteX31" fmla="*/ 211362 w 3490783"/>
                  <a:gd name="connsiteY31" fmla="*/ 145847 h 751764"/>
                  <a:gd name="connsiteX32" fmla="*/ 211362 w 3490783"/>
                  <a:gd name="connsiteY32" fmla="*/ 196107 h 751764"/>
                  <a:gd name="connsiteX33" fmla="*/ 395947 w 3490783"/>
                  <a:gd name="connsiteY33" fmla="*/ 196107 h 751764"/>
                  <a:gd name="connsiteX34" fmla="*/ 395947 w 3490783"/>
                  <a:gd name="connsiteY34" fmla="*/ 247033 h 751764"/>
                  <a:gd name="connsiteX35" fmla="*/ 1559384 w 3490783"/>
                  <a:gd name="connsiteY35" fmla="*/ 247033 h 751764"/>
                  <a:gd name="connsiteX36" fmla="*/ 1559384 w 3490783"/>
                  <a:gd name="connsiteY36" fmla="*/ 257298 h 751764"/>
                  <a:gd name="connsiteX37" fmla="*/ 1561280 w 3490783"/>
                  <a:gd name="connsiteY37" fmla="*/ 262364 h 751764"/>
                  <a:gd name="connsiteX38" fmla="*/ 1565782 w 3490783"/>
                  <a:gd name="connsiteY38" fmla="*/ 264497 h 751764"/>
                  <a:gd name="connsiteX39" fmla="*/ 1604050 w 3490783"/>
                  <a:gd name="connsiteY39" fmla="*/ 264497 h 751764"/>
                  <a:gd name="connsiteX40" fmla="*/ 1604050 w 3490783"/>
                  <a:gd name="connsiteY40" fmla="*/ 335421 h 751764"/>
                  <a:gd name="connsiteX41" fmla="*/ 1605945 w 3490783"/>
                  <a:gd name="connsiteY41" fmla="*/ 340487 h 751764"/>
                  <a:gd name="connsiteX42" fmla="*/ 1610447 w 3490783"/>
                  <a:gd name="connsiteY42" fmla="*/ 342620 h 751764"/>
                  <a:gd name="connsiteX43" fmla="*/ 1788636 w 3490783"/>
                  <a:gd name="connsiteY43" fmla="*/ 342620 h 751764"/>
                  <a:gd name="connsiteX44" fmla="*/ 1788636 w 3490783"/>
                  <a:gd name="connsiteY44" fmla="*/ 413410 h 751764"/>
                  <a:gd name="connsiteX45" fmla="*/ 1790531 w 3490783"/>
                  <a:gd name="connsiteY45" fmla="*/ 418476 h 751764"/>
                  <a:gd name="connsiteX46" fmla="*/ 1795033 w 3490783"/>
                  <a:gd name="connsiteY46" fmla="*/ 420609 h 751764"/>
                  <a:gd name="connsiteX47" fmla="*/ 3488651 w 3490783"/>
                  <a:gd name="connsiteY47" fmla="*/ 420609 h 751764"/>
                  <a:gd name="connsiteX48" fmla="*/ 3488651 w 3490783"/>
                  <a:gd name="connsiteY48" fmla="*/ 406345 h 751764"/>
                  <a:gd name="connsiteX49" fmla="*/ 1801313 w 3490783"/>
                  <a:gd name="connsiteY49" fmla="*/ 406345 h 751764"/>
                  <a:gd name="connsiteX50" fmla="*/ 1801313 w 3490783"/>
                  <a:gd name="connsiteY50" fmla="*/ 335554 h 751764"/>
                  <a:gd name="connsiteX51" fmla="*/ 1799417 w 3490783"/>
                  <a:gd name="connsiteY51" fmla="*/ 330488 h 751764"/>
                  <a:gd name="connsiteX52" fmla="*/ 1794915 w 3490783"/>
                  <a:gd name="connsiteY52" fmla="*/ 328355 h 751764"/>
                  <a:gd name="connsiteX53" fmla="*/ 1616726 w 3490783"/>
                  <a:gd name="connsiteY53" fmla="*/ 328355 h 751764"/>
                  <a:gd name="connsiteX54" fmla="*/ 1616726 w 3490783"/>
                  <a:gd name="connsiteY54" fmla="*/ 257432 h 751764"/>
                  <a:gd name="connsiteX55" fmla="*/ 1614831 w 3490783"/>
                  <a:gd name="connsiteY55" fmla="*/ 252366 h 751764"/>
                  <a:gd name="connsiteX56" fmla="*/ 1610329 w 3490783"/>
                  <a:gd name="connsiteY56" fmla="*/ 250233 h 751764"/>
                  <a:gd name="connsiteX57" fmla="*/ 1572061 w 3490783"/>
                  <a:gd name="connsiteY57" fmla="*/ 250233 h 751764"/>
                  <a:gd name="connsiteX58" fmla="*/ 1572061 w 3490783"/>
                  <a:gd name="connsiteY58" fmla="*/ 247033 h 751764"/>
                  <a:gd name="connsiteX59" fmla="*/ 3490784 w 3490783"/>
                  <a:gd name="connsiteY59" fmla="*/ 247033 h 751764"/>
                  <a:gd name="connsiteX60" fmla="*/ 3490784 w 3490783"/>
                  <a:gd name="connsiteY60" fmla="*/ 751764 h 751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3490783" h="751764">
                    <a:moveTo>
                      <a:pt x="3490665" y="751631"/>
                    </a:moveTo>
                    <a:lnTo>
                      <a:pt x="1794796" y="751631"/>
                    </a:lnTo>
                    <a:lnTo>
                      <a:pt x="1794796" y="674442"/>
                    </a:lnTo>
                    <a:lnTo>
                      <a:pt x="1610210" y="674442"/>
                    </a:lnTo>
                    <a:lnTo>
                      <a:pt x="1610210" y="643779"/>
                    </a:lnTo>
                    <a:lnTo>
                      <a:pt x="3490665" y="643779"/>
                    </a:lnTo>
                    <a:lnTo>
                      <a:pt x="3490665" y="629514"/>
                    </a:lnTo>
                    <a:lnTo>
                      <a:pt x="1610210" y="629514"/>
                    </a:lnTo>
                    <a:lnTo>
                      <a:pt x="1610210" y="595119"/>
                    </a:lnTo>
                    <a:lnTo>
                      <a:pt x="1565545" y="595119"/>
                    </a:lnTo>
                    <a:lnTo>
                      <a:pt x="1565545" y="513530"/>
                    </a:lnTo>
                    <a:lnTo>
                      <a:pt x="1357264" y="513530"/>
                    </a:lnTo>
                    <a:lnTo>
                      <a:pt x="1357264" y="429542"/>
                    </a:lnTo>
                    <a:lnTo>
                      <a:pt x="747111" y="429542"/>
                    </a:lnTo>
                    <a:lnTo>
                      <a:pt x="747111" y="348619"/>
                    </a:lnTo>
                    <a:lnTo>
                      <a:pt x="95255" y="348619"/>
                    </a:lnTo>
                    <a:lnTo>
                      <a:pt x="95255" y="265297"/>
                    </a:lnTo>
                    <a:lnTo>
                      <a:pt x="23814" y="265297"/>
                    </a:lnTo>
                    <a:lnTo>
                      <a:pt x="23814" y="90521"/>
                    </a:lnTo>
                    <a:lnTo>
                      <a:pt x="0" y="90521"/>
                    </a:lnTo>
                    <a:lnTo>
                      <a:pt x="0" y="0"/>
                    </a:lnTo>
                    <a:lnTo>
                      <a:pt x="88976" y="0"/>
                    </a:lnTo>
                    <a:lnTo>
                      <a:pt x="88976" y="27196"/>
                    </a:lnTo>
                    <a:cubicBezTo>
                      <a:pt x="88976" y="29063"/>
                      <a:pt x="89687" y="30929"/>
                      <a:pt x="90871" y="32262"/>
                    </a:cubicBezTo>
                    <a:cubicBezTo>
                      <a:pt x="92056" y="33595"/>
                      <a:pt x="93715" y="34395"/>
                      <a:pt x="95373" y="34395"/>
                    </a:cubicBezTo>
                    <a:lnTo>
                      <a:pt x="154848" y="34395"/>
                    </a:lnTo>
                    <a:lnTo>
                      <a:pt x="154848" y="47860"/>
                    </a:lnTo>
                    <a:lnTo>
                      <a:pt x="169776" y="47860"/>
                    </a:lnTo>
                    <a:lnTo>
                      <a:pt x="169776" y="96520"/>
                    </a:lnTo>
                    <a:lnTo>
                      <a:pt x="193590" y="96520"/>
                    </a:lnTo>
                    <a:lnTo>
                      <a:pt x="193590" y="145847"/>
                    </a:lnTo>
                    <a:lnTo>
                      <a:pt x="211362" y="145847"/>
                    </a:lnTo>
                    <a:lnTo>
                      <a:pt x="211362" y="196107"/>
                    </a:lnTo>
                    <a:lnTo>
                      <a:pt x="395947" y="196107"/>
                    </a:lnTo>
                    <a:lnTo>
                      <a:pt x="395947" y="247033"/>
                    </a:lnTo>
                    <a:lnTo>
                      <a:pt x="1559384" y="247033"/>
                    </a:lnTo>
                    <a:lnTo>
                      <a:pt x="1559384" y="257298"/>
                    </a:lnTo>
                    <a:cubicBezTo>
                      <a:pt x="1559384" y="259165"/>
                      <a:pt x="1560095" y="261031"/>
                      <a:pt x="1561280" y="262364"/>
                    </a:cubicBezTo>
                    <a:cubicBezTo>
                      <a:pt x="1562465" y="263697"/>
                      <a:pt x="1564123" y="264497"/>
                      <a:pt x="1565782" y="264497"/>
                    </a:cubicBezTo>
                    <a:lnTo>
                      <a:pt x="1604050" y="264497"/>
                    </a:lnTo>
                    <a:lnTo>
                      <a:pt x="1604050" y="335421"/>
                    </a:lnTo>
                    <a:cubicBezTo>
                      <a:pt x="1604050" y="337287"/>
                      <a:pt x="1604761" y="339154"/>
                      <a:pt x="1605945" y="340487"/>
                    </a:cubicBezTo>
                    <a:cubicBezTo>
                      <a:pt x="1607130" y="341820"/>
                      <a:pt x="1608789" y="342620"/>
                      <a:pt x="1610447" y="342620"/>
                    </a:cubicBezTo>
                    <a:lnTo>
                      <a:pt x="1788636" y="342620"/>
                    </a:lnTo>
                    <a:lnTo>
                      <a:pt x="1788636" y="413410"/>
                    </a:lnTo>
                    <a:cubicBezTo>
                      <a:pt x="1788636" y="415277"/>
                      <a:pt x="1789346" y="417143"/>
                      <a:pt x="1790531" y="418476"/>
                    </a:cubicBezTo>
                    <a:cubicBezTo>
                      <a:pt x="1791716" y="419809"/>
                      <a:pt x="1793375" y="420609"/>
                      <a:pt x="1795033" y="420609"/>
                    </a:cubicBezTo>
                    <a:lnTo>
                      <a:pt x="3488651" y="420609"/>
                    </a:lnTo>
                    <a:lnTo>
                      <a:pt x="3488651" y="406345"/>
                    </a:lnTo>
                    <a:lnTo>
                      <a:pt x="1801313" y="406345"/>
                    </a:lnTo>
                    <a:lnTo>
                      <a:pt x="1801313" y="335554"/>
                    </a:lnTo>
                    <a:cubicBezTo>
                      <a:pt x="1801313" y="333688"/>
                      <a:pt x="1800602" y="331821"/>
                      <a:pt x="1799417" y="330488"/>
                    </a:cubicBezTo>
                    <a:cubicBezTo>
                      <a:pt x="1798232" y="329155"/>
                      <a:pt x="1796574" y="328355"/>
                      <a:pt x="1794915" y="328355"/>
                    </a:cubicBezTo>
                    <a:lnTo>
                      <a:pt x="1616726" y="328355"/>
                    </a:lnTo>
                    <a:lnTo>
                      <a:pt x="1616726" y="257432"/>
                    </a:lnTo>
                    <a:cubicBezTo>
                      <a:pt x="1616726" y="255565"/>
                      <a:pt x="1616016" y="253699"/>
                      <a:pt x="1614831" y="252366"/>
                    </a:cubicBezTo>
                    <a:cubicBezTo>
                      <a:pt x="1613646" y="251033"/>
                      <a:pt x="1611988" y="250233"/>
                      <a:pt x="1610329" y="250233"/>
                    </a:cubicBezTo>
                    <a:lnTo>
                      <a:pt x="1572061" y="250233"/>
                    </a:lnTo>
                    <a:lnTo>
                      <a:pt x="1572061" y="247033"/>
                    </a:lnTo>
                    <a:lnTo>
                      <a:pt x="3490784" y="247033"/>
                    </a:lnTo>
                    <a:lnTo>
                      <a:pt x="3490784" y="75176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" name="Grafik 141">
              <a:extLst>
                <a:ext uri="{FF2B5EF4-FFF2-40B4-BE49-F238E27FC236}">
                  <a16:creationId xmlns:a16="http://schemas.microsoft.com/office/drawing/2014/main" id="{C3D84C66-BEB3-F107-3E7C-58DB4E0EB478}"/>
                </a:ext>
              </a:extLst>
            </p:cNvPr>
            <p:cNvGrpSpPr/>
            <p:nvPr/>
          </p:nvGrpSpPr>
          <p:grpSpPr>
            <a:xfrm>
              <a:off x="2630255" y="1765642"/>
              <a:ext cx="4355423" cy="965868"/>
              <a:chOff x="2524221" y="2081583"/>
              <a:chExt cx="4355423" cy="965868"/>
            </a:xfrm>
            <a:solidFill>
              <a:schemeClr val="accent2"/>
            </a:solidFill>
          </p:grpSpPr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64EE352-C436-A55A-2C07-4C5D6EDA6683}"/>
                  </a:ext>
                </a:extLst>
              </p:cNvPr>
              <p:cNvSpPr/>
              <p:nvPr/>
            </p:nvSpPr>
            <p:spPr>
              <a:xfrm>
                <a:off x="2524221" y="2081583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6 h 44393"/>
                  <a:gd name="connsiteX2" fmla="*/ 0 w 39452"/>
                  <a:gd name="connsiteY2" fmla="*/ 25996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6 h 44393"/>
                  <a:gd name="connsiteX10" fmla="*/ 23221 w 39452"/>
                  <a:gd name="connsiteY10" fmla="*/ 25996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6"/>
                    </a:lnTo>
                    <a:lnTo>
                      <a:pt x="0" y="25996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3" y="18264"/>
                    </a:lnTo>
                    <a:lnTo>
                      <a:pt x="39453" y="25996"/>
                    </a:lnTo>
                    <a:lnTo>
                      <a:pt x="23221" y="25996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F2917C9C-EB97-473E-9063-98F06E2EC85D}"/>
                  </a:ext>
                </a:extLst>
              </p:cNvPr>
              <p:cNvSpPr/>
              <p:nvPr/>
            </p:nvSpPr>
            <p:spPr>
              <a:xfrm>
                <a:off x="3247518" y="2687501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6 h 44393"/>
                  <a:gd name="connsiteX2" fmla="*/ 0 w 39452"/>
                  <a:gd name="connsiteY2" fmla="*/ 25996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103 w 39452"/>
                  <a:gd name="connsiteY6" fmla="*/ 0 h 44393"/>
                  <a:gd name="connsiteX7" fmla="*/ 23103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6 h 44393"/>
                  <a:gd name="connsiteX10" fmla="*/ 23103 w 39452"/>
                  <a:gd name="connsiteY10" fmla="*/ 25996 h 44393"/>
                  <a:gd name="connsiteX11" fmla="*/ 23103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6"/>
                    </a:lnTo>
                    <a:lnTo>
                      <a:pt x="0" y="25996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453" y="18264"/>
                    </a:lnTo>
                    <a:lnTo>
                      <a:pt x="39453" y="25996"/>
                    </a:lnTo>
                    <a:lnTo>
                      <a:pt x="23103" y="25996"/>
                    </a:lnTo>
                    <a:lnTo>
                      <a:pt x="23103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D8C8237C-644E-AE01-5083-58127482AAAE}"/>
                  </a:ext>
                </a:extLst>
              </p:cNvPr>
              <p:cNvSpPr/>
              <p:nvPr/>
            </p:nvSpPr>
            <p:spPr>
              <a:xfrm>
                <a:off x="5030467" y="3003058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3" y="18264"/>
                    </a:lnTo>
                    <a:lnTo>
                      <a:pt x="39453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8C694CE4-D325-A79B-0769-EFCC7A8D9214}"/>
                  </a:ext>
                </a:extLst>
              </p:cNvPr>
              <p:cNvSpPr/>
              <p:nvPr/>
            </p:nvSpPr>
            <p:spPr>
              <a:xfrm>
                <a:off x="5194201" y="3003058"/>
                <a:ext cx="39452" cy="44393"/>
              </a:xfrm>
              <a:custGeom>
                <a:avLst/>
                <a:gdLst>
                  <a:gd name="connsiteX0" fmla="*/ 16232 w 39452"/>
                  <a:gd name="connsiteY0" fmla="*/ 44394 h 44393"/>
                  <a:gd name="connsiteX1" fmla="*/ 16232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2 w 39452"/>
                  <a:gd name="connsiteY4" fmla="*/ 18264 h 44393"/>
                  <a:gd name="connsiteX5" fmla="*/ 16232 w 39452"/>
                  <a:gd name="connsiteY5" fmla="*/ 0 h 44393"/>
                  <a:gd name="connsiteX6" fmla="*/ 23222 w 39452"/>
                  <a:gd name="connsiteY6" fmla="*/ 0 h 44393"/>
                  <a:gd name="connsiteX7" fmla="*/ 23222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7 h 44393"/>
                  <a:gd name="connsiteX10" fmla="*/ 23222 w 39452"/>
                  <a:gd name="connsiteY10" fmla="*/ 25997 h 44393"/>
                  <a:gd name="connsiteX11" fmla="*/ 23222 w 39452"/>
                  <a:gd name="connsiteY11" fmla="*/ 44394 h 44393"/>
                  <a:gd name="connsiteX12" fmla="*/ 16232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2" y="44394"/>
                    </a:moveTo>
                    <a:lnTo>
                      <a:pt x="16232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2" y="18264"/>
                    </a:lnTo>
                    <a:lnTo>
                      <a:pt x="16232" y="0"/>
                    </a:lnTo>
                    <a:lnTo>
                      <a:pt x="23222" y="0"/>
                    </a:lnTo>
                    <a:lnTo>
                      <a:pt x="23222" y="18264"/>
                    </a:lnTo>
                    <a:lnTo>
                      <a:pt x="39453" y="18264"/>
                    </a:lnTo>
                    <a:lnTo>
                      <a:pt x="39453" y="25997"/>
                    </a:lnTo>
                    <a:lnTo>
                      <a:pt x="23222" y="25997"/>
                    </a:lnTo>
                    <a:lnTo>
                      <a:pt x="23222" y="44394"/>
                    </a:lnTo>
                    <a:lnTo>
                      <a:pt x="16232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C99DDD8-7ABA-B125-E467-20B9F2B9D0B2}"/>
                  </a:ext>
                </a:extLst>
              </p:cNvPr>
              <p:cNvSpPr/>
              <p:nvPr/>
            </p:nvSpPr>
            <p:spPr>
              <a:xfrm>
                <a:off x="5387673" y="3003058"/>
                <a:ext cx="39334" cy="44393"/>
              </a:xfrm>
              <a:custGeom>
                <a:avLst/>
                <a:gdLst>
                  <a:gd name="connsiteX0" fmla="*/ 16231 w 39334"/>
                  <a:gd name="connsiteY0" fmla="*/ 44394 h 44393"/>
                  <a:gd name="connsiteX1" fmla="*/ 16231 w 39334"/>
                  <a:gd name="connsiteY1" fmla="*/ 25997 h 44393"/>
                  <a:gd name="connsiteX2" fmla="*/ 0 w 39334"/>
                  <a:gd name="connsiteY2" fmla="*/ 25997 h 44393"/>
                  <a:gd name="connsiteX3" fmla="*/ 0 w 39334"/>
                  <a:gd name="connsiteY3" fmla="*/ 18264 h 44393"/>
                  <a:gd name="connsiteX4" fmla="*/ 16231 w 39334"/>
                  <a:gd name="connsiteY4" fmla="*/ 18264 h 44393"/>
                  <a:gd name="connsiteX5" fmla="*/ 16231 w 39334"/>
                  <a:gd name="connsiteY5" fmla="*/ 0 h 44393"/>
                  <a:gd name="connsiteX6" fmla="*/ 23103 w 39334"/>
                  <a:gd name="connsiteY6" fmla="*/ 0 h 44393"/>
                  <a:gd name="connsiteX7" fmla="*/ 23103 w 39334"/>
                  <a:gd name="connsiteY7" fmla="*/ 18264 h 44393"/>
                  <a:gd name="connsiteX8" fmla="*/ 39334 w 39334"/>
                  <a:gd name="connsiteY8" fmla="*/ 18264 h 44393"/>
                  <a:gd name="connsiteX9" fmla="*/ 39334 w 39334"/>
                  <a:gd name="connsiteY9" fmla="*/ 25997 h 44393"/>
                  <a:gd name="connsiteX10" fmla="*/ 23103 w 39334"/>
                  <a:gd name="connsiteY10" fmla="*/ 25997 h 44393"/>
                  <a:gd name="connsiteX11" fmla="*/ 23103 w 39334"/>
                  <a:gd name="connsiteY11" fmla="*/ 44394 h 44393"/>
                  <a:gd name="connsiteX12" fmla="*/ 16231 w 39334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334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334" y="18264"/>
                    </a:lnTo>
                    <a:lnTo>
                      <a:pt x="39334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89E6670C-5484-12CA-A59E-5DFB1F15680F}"/>
                  </a:ext>
                </a:extLst>
              </p:cNvPr>
              <p:cNvSpPr/>
              <p:nvPr/>
            </p:nvSpPr>
            <p:spPr>
              <a:xfrm>
                <a:off x="5396558" y="3003058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DAEA332-9AB7-876D-15A1-4AB0BEF47314}"/>
                  </a:ext>
                </a:extLst>
              </p:cNvPr>
              <p:cNvSpPr/>
              <p:nvPr/>
            </p:nvSpPr>
            <p:spPr>
              <a:xfrm>
                <a:off x="5750802" y="3003058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3" y="18264"/>
                    </a:lnTo>
                    <a:lnTo>
                      <a:pt x="39453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FAD66B82-6DA4-B76C-8B93-B40B2549838A}"/>
                  </a:ext>
                </a:extLst>
              </p:cNvPr>
              <p:cNvSpPr/>
              <p:nvPr/>
            </p:nvSpPr>
            <p:spPr>
              <a:xfrm>
                <a:off x="5902570" y="3003058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3" y="18264"/>
                    </a:lnTo>
                    <a:lnTo>
                      <a:pt x="39453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9528B410-643F-4741-ECCB-049CF549B7F7}"/>
                  </a:ext>
                </a:extLst>
              </p:cNvPr>
              <p:cNvSpPr/>
              <p:nvPr/>
            </p:nvSpPr>
            <p:spPr>
              <a:xfrm>
                <a:off x="6045453" y="3003058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2 w 39452"/>
                  <a:gd name="connsiteY6" fmla="*/ 0 h 44393"/>
                  <a:gd name="connsiteX7" fmla="*/ 23222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7 h 44393"/>
                  <a:gd name="connsiteX10" fmla="*/ 23222 w 39452"/>
                  <a:gd name="connsiteY10" fmla="*/ 25997 h 44393"/>
                  <a:gd name="connsiteX11" fmla="*/ 23222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2" y="0"/>
                    </a:lnTo>
                    <a:lnTo>
                      <a:pt x="23222" y="18264"/>
                    </a:lnTo>
                    <a:lnTo>
                      <a:pt x="39453" y="18264"/>
                    </a:lnTo>
                    <a:lnTo>
                      <a:pt x="39453" y="25997"/>
                    </a:lnTo>
                    <a:lnTo>
                      <a:pt x="23222" y="25997"/>
                    </a:lnTo>
                    <a:lnTo>
                      <a:pt x="23222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45B488C6-C142-1CA9-5DB0-4F0E48A27FCA}"/>
                  </a:ext>
                </a:extLst>
              </p:cNvPr>
              <p:cNvSpPr/>
              <p:nvPr/>
            </p:nvSpPr>
            <p:spPr>
              <a:xfrm>
                <a:off x="6209187" y="3003058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08A2CE1D-24E6-23CA-4B90-A07385E1D8F6}"/>
                  </a:ext>
                </a:extLst>
              </p:cNvPr>
              <p:cNvSpPr/>
              <p:nvPr/>
            </p:nvSpPr>
            <p:spPr>
              <a:xfrm>
                <a:off x="6304442" y="3003058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923D0AB9-C989-233F-B521-9B881ABF0A23}"/>
                  </a:ext>
                </a:extLst>
              </p:cNvPr>
              <p:cNvSpPr/>
              <p:nvPr/>
            </p:nvSpPr>
            <p:spPr>
              <a:xfrm>
                <a:off x="6396734" y="3003058"/>
                <a:ext cx="39334" cy="44393"/>
              </a:xfrm>
              <a:custGeom>
                <a:avLst/>
                <a:gdLst>
                  <a:gd name="connsiteX0" fmla="*/ 16232 w 39334"/>
                  <a:gd name="connsiteY0" fmla="*/ 44394 h 44393"/>
                  <a:gd name="connsiteX1" fmla="*/ 16232 w 39334"/>
                  <a:gd name="connsiteY1" fmla="*/ 25997 h 44393"/>
                  <a:gd name="connsiteX2" fmla="*/ 0 w 39334"/>
                  <a:gd name="connsiteY2" fmla="*/ 25997 h 44393"/>
                  <a:gd name="connsiteX3" fmla="*/ 0 w 39334"/>
                  <a:gd name="connsiteY3" fmla="*/ 18264 h 44393"/>
                  <a:gd name="connsiteX4" fmla="*/ 16232 w 39334"/>
                  <a:gd name="connsiteY4" fmla="*/ 18264 h 44393"/>
                  <a:gd name="connsiteX5" fmla="*/ 16232 w 39334"/>
                  <a:gd name="connsiteY5" fmla="*/ 0 h 44393"/>
                  <a:gd name="connsiteX6" fmla="*/ 23103 w 39334"/>
                  <a:gd name="connsiteY6" fmla="*/ 0 h 44393"/>
                  <a:gd name="connsiteX7" fmla="*/ 23103 w 39334"/>
                  <a:gd name="connsiteY7" fmla="*/ 18264 h 44393"/>
                  <a:gd name="connsiteX8" fmla="*/ 39334 w 39334"/>
                  <a:gd name="connsiteY8" fmla="*/ 18264 h 44393"/>
                  <a:gd name="connsiteX9" fmla="*/ 39334 w 39334"/>
                  <a:gd name="connsiteY9" fmla="*/ 25997 h 44393"/>
                  <a:gd name="connsiteX10" fmla="*/ 23103 w 39334"/>
                  <a:gd name="connsiteY10" fmla="*/ 25997 h 44393"/>
                  <a:gd name="connsiteX11" fmla="*/ 23103 w 39334"/>
                  <a:gd name="connsiteY11" fmla="*/ 44394 h 44393"/>
                  <a:gd name="connsiteX12" fmla="*/ 16232 w 39334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334" h="44393">
                    <a:moveTo>
                      <a:pt x="16232" y="44394"/>
                    </a:moveTo>
                    <a:lnTo>
                      <a:pt x="16232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2" y="18264"/>
                    </a:lnTo>
                    <a:lnTo>
                      <a:pt x="16232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334" y="18264"/>
                    </a:lnTo>
                    <a:lnTo>
                      <a:pt x="39334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2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D1D2E01E-8B71-1057-6D5E-1F6352DD6322}"/>
                  </a:ext>
                </a:extLst>
              </p:cNvPr>
              <p:cNvSpPr/>
              <p:nvPr/>
            </p:nvSpPr>
            <p:spPr>
              <a:xfrm>
                <a:off x="6441400" y="3003058"/>
                <a:ext cx="39334" cy="44393"/>
              </a:xfrm>
              <a:custGeom>
                <a:avLst/>
                <a:gdLst>
                  <a:gd name="connsiteX0" fmla="*/ 16231 w 39334"/>
                  <a:gd name="connsiteY0" fmla="*/ 44394 h 44393"/>
                  <a:gd name="connsiteX1" fmla="*/ 16231 w 39334"/>
                  <a:gd name="connsiteY1" fmla="*/ 25997 h 44393"/>
                  <a:gd name="connsiteX2" fmla="*/ 0 w 39334"/>
                  <a:gd name="connsiteY2" fmla="*/ 25997 h 44393"/>
                  <a:gd name="connsiteX3" fmla="*/ 0 w 39334"/>
                  <a:gd name="connsiteY3" fmla="*/ 18264 h 44393"/>
                  <a:gd name="connsiteX4" fmla="*/ 16231 w 39334"/>
                  <a:gd name="connsiteY4" fmla="*/ 18264 h 44393"/>
                  <a:gd name="connsiteX5" fmla="*/ 16231 w 39334"/>
                  <a:gd name="connsiteY5" fmla="*/ 0 h 44393"/>
                  <a:gd name="connsiteX6" fmla="*/ 23103 w 39334"/>
                  <a:gd name="connsiteY6" fmla="*/ 0 h 44393"/>
                  <a:gd name="connsiteX7" fmla="*/ 23103 w 39334"/>
                  <a:gd name="connsiteY7" fmla="*/ 18264 h 44393"/>
                  <a:gd name="connsiteX8" fmla="*/ 39334 w 39334"/>
                  <a:gd name="connsiteY8" fmla="*/ 18264 h 44393"/>
                  <a:gd name="connsiteX9" fmla="*/ 39334 w 39334"/>
                  <a:gd name="connsiteY9" fmla="*/ 25997 h 44393"/>
                  <a:gd name="connsiteX10" fmla="*/ 23103 w 39334"/>
                  <a:gd name="connsiteY10" fmla="*/ 25997 h 44393"/>
                  <a:gd name="connsiteX11" fmla="*/ 23103 w 39334"/>
                  <a:gd name="connsiteY11" fmla="*/ 44394 h 44393"/>
                  <a:gd name="connsiteX12" fmla="*/ 16231 w 39334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334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334" y="18264"/>
                    </a:lnTo>
                    <a:lnTo>
                      <a:pt x="39334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4AE6EBC3-DF40-AB55-3483-9B9C89875087}"/>
                  </a:ext>
                </a:extLst>
              </p:cNvPr>
              <p:cNvSpPr/>
              <p:nvPr/>
            </p:nvSpPr>
            <p:spPr>
              <a:xfrm>
                <a:off x="6509761" y="3003058"/>
                <a:ext cx="39452" cy="44393"/>
              </a:xfrm>
              <a:custGeom>
                <a:avLst/>
                <a:gdLst>
                  <a:gd name="connsiteX0" fmla="*/ 16350 w 39452"/>
                  <a:gd name="connsiteY0" fmla="*/ 44394 h 44393"/>
                  <a:gd name="connsiteX1" fmla="*/ 16350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350 w 39452"/>
                  <a:gd name="connsiteY4" fmla="*/ 18264 h 44393"/>
                  <a:gd name="connsiteX5" fmla="*/ 16350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350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350" y="44394"/>
                    </a:moveTo>
                    <a:lnTo>
                      <a:pt x="16350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350" y="18264"/>
                    </a:lnTo>
                    <a:lnTo>
                      <a:pt x="16350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3" y="18264"/>
                    </a:lnTo>
                    <a:lnTo>
                      <a:pt x="39453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350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980DB0B8-50DA-B539-63D0-476A499952BD}"/>
                  </a:ext>
                </a:extLst>
              </p:cNvPr>
              <p:cNvSpPr/>
              <p:nvPr/>
            </p:nvSpPr>
            <p:spPr>
              <a:xfrm>
                <a:off x="6840191" y="3003058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" name="Grafik 141">
              <a:extLst>
                <a:ext uri="{FF2B5EF4-FFF2-40B4-BE49-F238E27FC236}">
                  <a16:creationId xmlns:a16="http://schemas.microsoft.com/office/drawing/2014/main" id="{7ED47C20-7D24-063C-C16B-C956DFD9633A}"/>
                </a:ext>
              </a:extLst>
            </p:cNvPr>
            <p:cNvGrpSpPr/>
            <p:nvPr/>
          </p:nvGrpSpPr>
          <p:grpSpPr>
            <a:xfrm>
              <a:off x="3415989" y="1706984"/>
              <a:ext cx="3805219" cy="801090"/>
              <a:chOff x="3309955" y="2022925"/>
              <a:chExt cx="3805219" cy="801090"/>
            </a:xfrm>
            <a:solidFill>
              <a:schemeClr val="accent6"/>
            </a:solidFill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D6769D62-B0C8-1634-26B5-D2B733522198}"/>
                  </a:ext>
                </a:extLst>
              </p:cNvPr>
              <p:cNvSpPr/>
              <p:nvPr/>
            </p:nvSpPr>
            <p:spPr>
              <a:xfrm>
                <a:off x="3309955" y="2022925"/>
                <a:ext cx="39452" cy="44393"/>
              </a:xfrm>
              <a:custGeom>
                <a:avLst/>
                <a:gdLst>
                  <a:gd name="connsiteX0" fmla="*/ 16350 w 39452"/>
                  <a:gd name="connsiteY0" fmla="*/ 44394 h 44393"/>
                  <a:gd name="connsiteX1" fmla="*/ 16350 w 39452"/>
                  <a:gd name="connsiteY1" fmla="*/ 25996 h 44393"/>
                  <a:gd name="connsiteX2" fmla="*/ 0 w 39452"/>
                  <a:gd name="connsiteY2" fmla="*/ 25996 h 44393"/>
                  <a:gd name="connsiteX3" fmla="*/ 0 w 39452"/>
                  <a:gd name="connsiteY3" fmla="*/ 18264 h 44393"/>
                  <a:gd name="connsiteX4" fmla="*/ 16350 w 39452"/>
                  <a:gd name="connsiteY4" fmla="*/ 18264 h 44393"/>
                  <a:gd name="connsiteX5" fmla="*/ 16350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6 h 44393"/>
                  <a:gd name="connsiteX10" fmla="*/ 23221 w 39452"/>
                  <a:gd name="connsiteY10" fmla="*/ 25996 h 44393"/>
                  <a:gd name="connsiteX11" fmla="*/ 23221 w 39452"/>
                  <a:gd name="connsiteY11" fmla="*/ 44394 h 44393"/>
                  <a:gd name="connsiteX12" fmla="*/ 16350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350" y="44394"/>
                    </a:moveTo>
                    <a:lnTo>
                      <a:pt x="16350" y="25996"/>
                    </a:lnTo>
                    <a:lnTo>
                      <a:pt x="0" y="25996"/>
                    </a:lnTo>
                    <a:lnTo>
                      <a:pt x="0" y="18264"/>
                    </a:lnTo>
                    <a:lnTo>
                      <a:pt x="16350" y="18264"/>
                    </a:lnTo>
                    <a:lnTo>
                      <a:pt x="16350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3" y="18264"/>
                    </a:lnTo>
                    <a:lnTo>
                      <a:pt x="39453" y="25996"/>
                    </a:lnTo>
                    <a:lnTo>
                      <a:pt x="23221" y="25996"/>
                    </a:lnTo>
                    <a:lnTo>
                      <a:pt x="23221" y="44394"/>
                    </a:lnTo>
                    <a:lnTo>
                      <a:pt x="16350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6C819175-760A-FE3E-25F3-266CE6C33A54}"/>
                  </a:ext>
                </a:extLst>
              </p:cNvPr>
              <p:cNvSpPr/>
              <p:nvPr/>
            </p:nvSpPr>
            <p:spPr>
              <a:xfrm>
                <a:off x="4673261" y="2467531"/>
                <a:ext cx="39452" cy="44527"/>
              </a:xfrm>
              <a:custGeom>
                <a:avLst/>
                <a:gdLst>
                  <a:gd name="connsiteX0" fmla="*/ 16231 w 39452"/>
                  <a:gd name="connsiteY0" fmla="*/ 44527 h 44527"/>
                  <a:gd name="connsiteX1" fmla="*/ 16231 w 39452"/>
                  <a:gd name="connsiteY1" fmla="*/ 26130 h 44527"/>
                  <a:gd name="connsiteX2" fmla="*/ 0 w 39452"/>
                  <a:gd name="connsiteY2" fmla="*/ 26130 h 44527"/>
                  <a:gd name="connsiteX3" fmla="*/ 0 w 39452"/>
                  <a:gd name="connsiteY3" fmla="*/ 18398 h 44527"/>
                  <a:gd name="connsiteX4" fmla="*/ 16231 w 39452"/>
                  <a:gd name="connsiteY4" fmla="*/ 18398 h 44527"/>
                  <a:gd name="connsiteX5" fmla="*/ 16231 w 39452"/>
                  <a:gd name="connsiteY5" fmla="*/ 0 h 44527"/>
                  <a:gd name="connsiteX6" fmla="*/ 23221 w 39452"/>
                  <a:gd name="connsiteY6" fmla="*/ 0 h 44527"/>
                  <a:gd name="connsiteX7" fmla="*/ 23221 w 39452"/>
                  <a:gd name="connsiteY7" fmla="*/ 18398 h 44527"/>
                  <a:gd name="connsiteX8" fmla="*/ 39453 w 39452"/>
                  <a:gd name="connsiteY8" fmla="*/ 18398 h 44527"/>
                  <a:gd name="connsiteX9" fmla="*/ 39453 w 39452"/>
                  <a:gd name="connsiteY9" fmla="*/ 26130 h 44527"/>
                  <a:gd name="connsiteX10" fmla="*/ 23221 w 39452"/>
                  <a:gd name="connsiteY10" fmla="*/ 26130 h 44527"/>
                  <a:gd name="connsiteX11" fmla="*/ 23221 w 39452"/>
                  <a:gd name="connsiteY11" fmla="*/ 44527 h 44527"/>
                  <a:gd name="connsiteX12" fmla="*/ 16231 w 39452"/>
                  <a:gd name="connsiteY12" fmla="*/ 44527 h 4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527">
                    <a:moveTo>
                      <a:pt x="16231" y="44527"/>
                    </a:moveTo>
                    <a:lnTo>
                      <a:pt x="16231" y="26130"/>
                    </a:lnTo>
                    <a:lnTo>
                      <a:pt x="0" y="26130"/>
                    </a:lnTo>
                    <a:lnTo>
                      <a:pt x="0" y="18398"/>
                    </a:lnTo>
                    <a:lnTo>
                      <a:pt x="16231" y="18398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398"/>
                    </a:lnTo>
                    <a:lnTo>
                      <a:pt x="39453" y="18398"/>
                    </a:lnTo>
                    <a:lnTo>
                      <a:pt x="39453" y="26130"/>
                    </a:lnTo>
                    <a:lnTo>
                      <a:pt x="23221" y="26130"/>
                    </a:lnTo>
                    <a:lnTo>
                      <a:pt x="23221" y="44527"/>
                    </a:lnTo>
                    <a:lnTo>
                      <a:pt x="16231" y="44527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608B7BB0-2F51-7E56-B154-6251EFCD22F7}"/>
                  </a:ext>
                </a:extLst>
              </p:cNvPr>
              <p:cNvSpPr/>
              <p:nvPr/>
            </p:nvSpPr>
            <p:spPr>
              <a:xfrm>
                <a:off x="5432220" y="2779621"/>
                <a:ext cx="39452" cy="44393"/>
              </a:xfrm>
              <a:custGeom>
                <a:avLst/>
                <a:gdLst>
                  <a:gd name="connsiteX0" fmla="*/ 16349 w 39452"/>
                  <a:gd name="connsiteY0" fmla="*/ 44394 h 44393"/>
                  <a:gd name="connsiteX1" fmla="*/ 16349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349 w 39452"/>
                  <a:gd name="connsiteY4" fmla="*/ 18264 h 44393"/>
                  <a:gd name="connsiteX5" fmla="*/ 16349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349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349" y="44394"/>
                    </a:moveTo>
                    <a:lnTo>
                      <a:pt x="16349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349" y="18264"/>
                    </a:lnTo>
                    <a:lnTo>
                      <a:pt x="16349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349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65A55712-C91E-FE68-BEAF-4CDD951994CF}"/>
                  </a:ext>
                </a:extLst>
              </p:cNvPr>
              <p:cNvSpPr/>
              <p:nvPr/>
            </p:nvSpPr>
            <p:spPr>
              <a:xfrm>
                <a:off x="5923422" y="2779621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F3E43201-AAF4-BB5E-356D-0471DD740933}"/>
                  </a:ext>
                </a:extLst>
              </p:cNvPr>
              <p:cNvSpPr/>
              <p:nvPr/>
            </p:nvSpPr>
            <p:spPr>
              <a:xfrm>
                <a:off x="5965126" y="2779621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103 w 39452"/>
                  <a:gd name="connsiteY6" fmla="*/ 0 h 44393"/>
                  <a:gd name="connsiteX7" fmla="*/ 23103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7 h 44393"/>
                  <a:gd name="connsiteX10" fmla="*/ 23103 w 39452"/>
                  <a:gd name="connsiteY10" fmla="*/ 25997 h 44393"/>
                  <a:gd name="connsiteX11" fmla="*/ 23103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453" y="18264"/>
                    </a:lnTo>
                    <a:lnTo>
                      <a:pt x="39453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7C791670-395E-E0E1-C6E0-BC3AD959EB3E}"/>
                  </a:ext>
                </a:extLst>
              </p:cNvPr>
              <p:cNvSpPr/>
              <p:nvPr/>
            </p:nvSpPr>
            <p:spPr>
              <a:xfrm>
                <a:off x="6262738" y="2779621"/>
                <a:ext cx="39452" cy="44393"/>
              </a:xfrm>
              <a:custGeom>
                <a:avLst/>
                <a:gdLst>
                  <a:gd name="connsiteX0" fmla="*/ 16232 w 39452"/>
                  <a:gd name="connsiteY0" fmla="*/ 44394 h 44393"/>
                  <a:gd name="connsiteX1" fmla="*/ 16232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2 w 39452"/>
                  <a:gd name="connsiteY4" fmla="*/ 18264 h 44393"/>
                  <a:gd name="connsiteX5" fmla="*/ 16232 w 39452"/>
                  <a:gd name="connsiteY5" fmla="*/ 0 h 44393"/>
                  <a:gd name="connsiteX6" fmla="*/ 23222 w 39452"/>
                  <a:gd name="connsiteY6" fmla="*/ 0 h 44393"/>
                  <a:gd name="connsiteX7" fmla="*/ 23222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7 h 44393"/>
                  <a:gd name="connsiteX10" fmla="*/ 23222 w 39452"/>
                  <a:gd name="connsiteY10" fmla="*/ 25997 h 44393"/>
                  <a:gd name="connsiteX11" fmla="*/ 23222 w 39452"/>
                  <a:gd name="connsiteY11" fmla="*/ 44394 h 44393"/>
                  <a:gd name="connsiteX12" fmla="*/ 16232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2" y="44394"/>
                    </a:moveTo>
                    <a:lnTo>
                      <a:pt x="16232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2" y="18264"/>
                    </a:lnTo>
                    <a:lnTo>
                      <a:pt x="16232" y="0"/>
                    </a:lnTo>
                    <a:lnTo>
                      <a:pt x="23222" y="0"/>
                    </a:lnTo>
                    <a:lnTo>
                      <a:pt x="23222" y="18264"/>
                    </a:lnTo>
                    <a:lnTo>
                      <a:pt x="39453" y="18264"/>
                    </a:lnTo>
                    <a:lnTo>
                      <a:pt x="39453" y="25997"/>
                    </a:lnTo>
                    <a:lnTo>
                      <a:pt x="23222" y="25997"/>
                    </a:lnTo>
                    <a:lnTo>
                      <a:pt x="23222" y="44394"/>
                    </a:lnTo>
                    <a:lnTo>
                      <a:pt x="16232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6621EBA3-1581-6F98-1ED5-0F4B65A7162C}"/>
                  </a:ext>
                </a:extLst>
              </p:cNvPr>
              <p:cNvSpPr/>
              <p:nvPr/>
            </p:nvSpPr>
            <p:spPr>
              <a:xfrm>
                <a:off x="6298518" y="2779621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103 w 39452"/>
                  <a:gd name="connsiteY6" fmla="*/ 0 h 44393"/>
                  <a:gd name="connsiteX7" fmla="*/ 23103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103 w 39452"/>
                  <a:gd name="connsiteY10" fmla="*/ 25997 h 44393"/>
                  <a:gd name="connsiteX11" fmla="*/ 23103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94F142DA-07B3-2369-51B3-75F173D2875B}"/>
                  </a:ext>
                </a:extLst>
              </p:cNvPr>
              <p:cNvSpPr/>
              <p:nvPr/>
            </p:nvSpPr>
            <p:spPr>
              <a:xfrm>
                <a:off x="6313327" y="2779621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12410D22-A9B8-4311-DD21-57A803836955}"/>
                  </a:ext>
                </a:extLst>
              </p:cNvPr>
              <p:cNvSpPr/>
              <p:nvPr/>
            </p:nvSpPr>
            <p:spPr>
              <a:xfrm>
                <a:off x="6357993" y="2779621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3 w 39452"/>
                  <a:gd name="connsiteY8" fmla="*/ 18264 h 44393"/>
                  <a:gd name="connsiteX9" fmla="*/ 39453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3" y="18264"/>
                    </a:lnTo>
                    <a:lnTo>
                      <a:pt x="39453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1EFB4785-7B1D-D21C-852D-C0662CDA29FA}"/>
                  </a:ext>
                </a:extLst>
              </p:cNvPr>
              <p:cNvSpPr/>
              <p:nvPr/>
            </p:nvSpPr>
            <p:spPr>
              <a:xfrm>
                <a:off x="6381925" y="2779621"/>
                <a:ext cx="39334" cy="44393"/>
              </a:xfrm>
              <a:custGeom>
                <a:avLst/>
                <a:gdLst>
                  <a:gd name="connsiteX0" fmla="*/ 16232 w 39334"/>
                  <a:gd name="connsiteY0" fmla="*/ 44394 h 44393"/>
                  <a:gd name="connsiteX1" fmla="*/ 16232 w 39334"/>
                  <a:gd name="connsiteY1" fmla="*/ 25997 h 44393"/>
                  <a:gd name="connsiteX2" fmla="*/ 0 w 39334"/>
                  <a:gd name="connsiteY2" fmla="*/ 25997 h 44393"/>
                  <a:gd name="connsiteX3" fmla="*/ 0 w 39334"/>
                  <a:gd name="connsiteY3" fmla="*/ 18264 h 44393"/>
                  <a:gd name="connsiteX4" fmla="*/ 16232 w 39334"/>
                  <a:gd name="connsiteY4" fmla="*/ 18264 h 44393"/>
                  <a:gd name="connsiteX5" fmla="*/ 16232 w 39334"/>
                  <a:gd name="connsiteY5" fmla="*/ 0 h 44393"/>
                  <a:gd name="connsiteX6" fmla="*/ 23103 w 39334"/>
                  <a:gd name="connsiteY6" fmla="*/ 0 h 44393"/>
                  <a:gd name="connsiteX7" fmla="*/ 23103 w 39334"/>
                  <a:gd name="connsiteY7" fmla="*/ 18264 h 44393"/>
                  <a:gd name="connsiteX8" fmla="*/ 39334 w 39334"/>
                  <a:gd name="connsiteY8" fmla="*/ 18264 h 44393"/>
                  <a:gd name="connsiteX9" fmla="*/ 39334 w 39334"/>
                  <a:gd name="connsiteY9" fmla="*/ 25997 h 44393"/>
                  <a:gd name="connsiteX10" fmla="*/ 23103 w 39334"/>
                  <a:gd name="connsiteY10" fmla="*/ 25997 h 44393"/>
                  <a:gd name="connsiteX11" fmla="*/ 23103 w 39334"/>
                  <a:gd name="connsiteY11" fmla="*/ 44394 h 44393"/>
                  <a:gd name="connsiteX12" fmla="*/ 16232 w 39334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334" h="44393">
                    <a:moveTo>
                      <a:pt x="16232" y="44394"/>
                    </a:moveTo>
                    <a:lnTo>
                      <a:pt x="16232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2" y="18264"/>
                    </a:lnTo>
                    <a:lnTo>
                      <a:pt x="16232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334" y="18264"/>
                    </a:lnTo>
                    <a:lnTo>
                      <a:pt x="39334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2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03C0794F-B47B-7E89-B5C3-549B4ADE8A11}"/>
                  </a:ext>
                </a:extLst>
              </p:cNvPr>
              <p:cNvSpPr/>
              <p:nvPr/>
            </p:nvSpPr>
            <p:spPr>
              <a:xfrm>
                <a:off x="6387731" y="2779621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221 w 39452"/>
                  <a:gd name="connsiteY6" fmla="*/ 0 h 44393"/>
                  <a:gd name="connsiteX7" fmla="*/ 23221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221 w 39452"/>
                  <a:gd name="connsiteY10" fmla="*/ 25997 h 44393"/>
                  <a:gd name="connsiteX11" fmla="*/ 23221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221" y="0"/>
                    </a:lnTo>
                    <a:lnTo>
                      <a:pt x="23221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221" y="25997"/>
                    </a:lnTo>
                    <a:lnTo>
                      <a:pt x="23221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01754E1B-FCAE-B135-E514-46ECAB94C3EA}"/>
                  </a:ext>
                </a:extLst>
              </p:cNvPr>
              <p:cNvSpPr/>
              <p:nvPr/>
            </p:nvSpPr>
            <p:spPr>
              <a:xfrm>
                <a:off x="6691385" y="2779621"/>
                <a:ext cx="39452" cy="44393"/>
              </a:xfrm>
              <a:custGeom>
                <a:avLst/>
                <a:gdLst>
                  <a:gd name="connsiteX0" fmla="*/ 16231 w 39452"/>
                  <a:gd name="connsiteY0" fmla="*/ 44394 h 44393"/>
                  <a:gd name="connsiteX1" fmla="*/ 16231 w 39452"/>
                  <a:gd name="connsiteY1" fmla="*/ 25997 h 44393"/>
                  <a:gd name="connsiteX2" fmla="*/ 0 w 39452"/>
                  <a:gd name="connsiteY2" fmla="*/ 25997 h 44393"/>
                  <a:gd name="connsiteX3" fmla="*/ 0 w 39452"/>
                  <a:gd name="connsiteY3" fmla="*/ 18264 h 44393"/>
                  <a:gd name="connsiteX4" fmla="*/ 16231 w 39452"/>
                  <a:gd name="connsiteY4" fmla="*/ 18264 h 44393"/>
                  <a:gd name="connsiteX5" fmla="*/ 16231 w 39452"/>
                  <a:gd name="connsiteY5" fmla="*/ 0 h 44393"/>
                  <a:gd name="connsiteX6" fmla="*/ 23103 w 39452"/>
                  <a:gd name="connsiteY6" fmla="*/ 0 h 44393"/>
                  <a:gd name="connsiteX7" fmla="*/ 23103 w 39452"/>
                  <a:gd name="connsiteY7" fmla="*/ 18264 h 44393"/>
                  <a:gd name="connsiteX8" fmla="*/ 39452 w 39452"/>
                  <a:gd name="connsiteY8" fmla="*/ 18264 h 44393"/>
                  <a:gd name="connsiteX9" fmla="*/ 39452 w 39452"/>
                  <a:gd name="connsiteY9" fmla="*/ 25997 h 44393"/>
                  <a:gd name="connsiteX10" fmla="*/ 23103 w 39452"/>
                  <a:gd name="connsiteY10" fmla="*/ 25997 h 44393"/>
                  <a:gd name="connsiteX11" fmla="*/ 23103 w 39452"/>
                  <a:gd name="connsiteY11" fmla="*/ 44394 h 44393"/>
                  <a:gd name="connsiteX12" fmla="*/ 16231 w 39452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52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452" y="18264"/>
                    </a:lnTo>
                    <a:lnTo>
                      <a:pt x="39452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5335A15F-C0BE-9148-1842-5429CD57B82B}"/>
                  </a:ext>
                </a:extLst>
              </p:cNvPr>
              <p:cNvSpPr/>
              <p:nvPr/>
            </p:nvSpPr>
            <p:spPr>
              <a:xfrm>
                <a:off x="6819458" y="2779621"/>
                <a:ext cx="39333" cy="44393"/>
              </a:xfrm>
              <a:custGeom>
                <a:avLst/>
                <a:gdLst>
                  <a:gd name="connsiteX0" fmla="*/ 16231 w 39333"/>
                  <a:gd name="connsiteY0" fmla="*/ 44394 h 44393"/>
                  <a:gd name="connsiteX1" fmla="*/ 16231 w 39333"/>
                  <a:gd name="connsiteY1" fmla="*/ 25997 h 44393"/>
                  <a:gd name="connsiteX2" fmla="*/ 0 w 39333"/>
                  <a:gd name="connsiteY2" fmla="*/ 25997 h 44393"/>
                  <a:gd name="connsiteX3" fmla="*/ 0 w 39333"/>
                  <a:gd name="connsiteY3" fmla="*/ 18264 h 44393"/>
                  <a:gd name="connsiteX4" fmla="*/ 16231 w 39333"/>
                  <a:gd name="connsiteY4" fmla="*/ 18264 h 44393"/>
                  <a:gd name="connsiteX5" fmla="*/ 16231 w 39333"/>
                  <a:gd name="connsiteY5" fmla="*/ 0 h 44393"/>
                  <a:gd name="connsiteX6" fmla="*/ 23103 w 39333"/>
                  <a:gd name="connsiteY6" fmla="*/ 0 h 44393"/>
                  <a:gd name="connsiteX7" fmla="*/ 23103 w 39333"/>
                  <a:gd name="connsiteY7" fmla="*/ 18264 h 44393"/>
                  <a:gd name="connsiteX8" fmla="*/ 39334 w 39333"/>
                  <a:gd name="connsiteY8" fmla="*/ 18264 h 44393"/>
                  <a:gd name="connsiteX9" fmla="*/ 39334 w 39333"/>
                  <a:gd name="connsiteY9" fmla="*/ 25997 h 44393"/>
                  <a:gd name="connsiteX10" fmla="*/ 23103 w 39333"/>
                  <a:gd name="connsiteY10" fmla="*/ 25997 h 44393"/>
                  <a:gd name="connsiteX11" fmla="*/ 23103 w 39333"/>
                  <a:gd name="connsiteY11" fmla="*/ 44394 h 44393"/>
                  <a:gd name="connsiteX12" fmla="*/ 16231 w 39333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333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334" y="18264"/>
                    </a:lnTo>
                    <a:lnTo>
                      <a:pt x="39334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9837B4F6-589D-03DF-0E4F-EF5935D24854}"/>
                  </a:ext>
                </a:extLst>
              </p:cNvPr>
              <p:cNvSpPr/>
              <p:nvPr/>
            </p:nvSpPr>
            <p:spPr>
              <a:xfrm>
                <a:off x="6896823" y="2779621"/>
                <a:ext cx="39334" cy="44393"/>
              </a:xfrm>
              <a:custGeom>
                <a:avLst/>
                <a:gdLst>
                  <a:gd name="connsiteX0" fmla="*/ 16231 w 39334"/>
                  <a:gd name="connsiteY0" fmla="*/ 44394 h 44393"/>
                  <a:gd name="connsiteX1" fmla="*/ 16231 w 39334"/>
                  <a:gd name="connsiteY1" fmla="*/ 25997 h 44393"/>
                  <a:gd name="connsiteX2" fmla="*/ 0 w 39334"/>
                  <a:gd name="connsiteY2" fmla="*/ 25997 h 44393"/>
                  <a:gd name="connsiteX3" fmla="*/ 0 w 39334"/>
                  <a:gd name="connsiteY3" fmla="*/ 18264 h 44393"/>
                  <a:gd name="connsiteX4" fmla="*/ 16231 w 39334"/>
                  <a:gd name="connsiteY4" fmla="*/ 18264 h 44393"/>
                  <a:gd name="connsiteX5" fmla="*/ 16231 w 39334"/>
                  <a:gd name="connsiteY5" fmla="*/ 0 h 44393"/>
                  <a:gd name="connsiteX6" fmla="*/ 23103 w 39334"/>
                  <a:gd name="connsiteY6" fmla="*/ 0 h 44393"/>
                  <a:gd name="connsiteX7" fmla="*/ 23103 w 39334"/>
                  <a:gd name="connsiteY7" fmla="*/ 18264 h 44393"/>
                  <a:gd name="connsiteX8" fmla="*/ 39334 w 39334"/>
                  <a:gd name="connsiteY8" fmla="*/ 18264 h 44393"/>
                  <a:gd name="connsiteX9" fmla="*/ 39334 w 39334"/>
                  <a:gd name="connsiteY9" fmla="*/ 25997 h 44393"/>
                  <a:gd name="connsiteX10" fmla="*/ 23103 w 39334"/>
                  <a:gd name="connsiteY10" fmla="*/ 25997 h 44393"/>
                  <a:gd name="connsiteX11" fmla="*/ 23103 w 39334"/>
                  <a:gd name="connsiteY11" fmla="*/ 44394 h 44393"/>
                  <a:gd name="connsiteX12" fmla="*/ 16231 w 39334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334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334" y="18264"/>
                    </a:lnTo>
                    <a:lnTo>
                      <a:pt x="39334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0F5A28C5-9E10-DB40-B8C3-ADAE346353B7}"/>
                  </a:ext>
                </a:extLst>
              </p:cNvPr>
              <p:cNvSpPr/>
              <p:nvPr/>
            </p:nvSpPr>
            <p:spPr>
              <a:xfrm>
                <a:off x="7003925" y="2779621"/>
                <a:ext cx="39334" cy="44393"/>
              </a:xfrm>
              <a:custGeom>
                <a:avLst/>
                <a:gdLst>
                  <a:gd name="connsiteX0" fmla="*/ 16232 w 39334"/>
                  <a:gd name="connsiteY0" fmla="*/ 44394 h 44393"/>
                  <a:gd name="connsiteX1" fmla="*/ 16232 w 39334"/>
                  <a:gd name="connsiteY1" fmla="*/ 25997 h 44393"/>
                  <a:gd name="connsiteX2" fmla="*/ 0 w 39334"/>
                  <a:gd name="connsiteY2" fmla="*/ 25997 h 44393"/>
                  <a:gd name="connsiteX3" fmla="*/ 0 w 39334"/>
                  <a:gd name="connsiteY3" fmla="*/ 18264 h 44393"/>
                  <a:gd name="connsiteX4" fmla="*/ 16232 w 39334"/>
                  <a:gd name="connsiteY4" fmla="*/ 18264 h 44393"/>
                  <a:gd name="connsiteX5" fmla="*/ 16232 w 39334"/>
                  <a:gd name="connsiteY5" fmla="*/ 0 h 44393"/>
                  <a:gd name="connsiteX6" fmla="*/ 23222 w 39334"/>
                  <a:gd name="connsiteY6" fmla="*/ 0 h 44393"/>
                  <a:gd name="connsiteX7" fmla="*/ 23222 w 39334"/>
                  <a:gd name="connsiteY7" fmla="*/ 18264 h 44393"/>
                  <a:gd name="connsiteX8" fmla="*/ 39334 w 39334"/>
                  <a:gd name="connsiteY8" fmla="*/ 18264 h 44393"/>
                  <a:gd name="connsiteX9" fmla="*/ 39334 w 39334"/>
                  <a:gd name="connsiteY9" fmla="*/ 25997 h 44393"/>
                  <a:gd name="connsiteX10" fmla="*/ 23222 w 39334"/>
                  <a:gd name="connsiteY10" fmla="*/ 25997 h 44393"/>
                  <a:gd name="connsiteX11" fmla="*/ 23222 w 39334"/>
                  <a:gd name="connsiteY11" fmla="*/ 44394 h 44393"/>
                  <a:gd name="connsiteX12" fmla="*/ 16232 w 39334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334" h="44393">
                    <a:moveTo>
                      <a:pt x="16232" y="44394"/>
                    </a:moveTo>
                    <a:lnTo>
                      <a:pt x="16232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2" y="18264"/>
                    </a:lnTo>
                    <a:lnTo>
                      <a:pt x="16232" y="0"/>
                    </a:lnTo>
                    <a:lnTo>
                      <a:pt x="23222" y="0"/>
                    </a:lnTo>
                    <a:lnTo>
                      <a:pt x="23222" y="18264"/>
                    </a:lnTo>
                    <a:lnTo>
                      <a:pt x="39334" y="18264"/>
                    </a:lnTo>
                    <a:lnTo>
                      <a:pt x="39334" y="25997"/>
                    </a:lnTo>
                    <a:lnTo>
                      <a:pt x="23222" y="25997"/>
                    </a:lnTo>
                    <a:lnTo>
                      <a:pt x="23222" y="44394"/>
                    </a:lnTo>
                    <a:lnTo>
                      <a:pt x="16232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D2F17FE7-32C6-7EFA-4E2F-15A0E8FF3ABD}"/>
                  </a:ext>
                </a:extLst>
              </p:cNvPr>
              <p:cNvSpPr/>
              <p:nvPr/>
            </p:nvSpPr>
            <p:spPr>
              <a:xfrm>
                <a:off x="7075367" y="2779621"/>
                <a:ext cx="39333" cy="44393"/>
              </a:xfrm>
              <a:custGeom>
                <a:avLst/>
                <a:gdLst>
                  <a:gd name="connsiteX0" fmla="*/ 16231 w 39333"/>
                  <a:gd name="connsiteY0" fmla="*/ 44394 h 44393"/>
                  <a:gd name="connsiteX1" fmla="*/ 16231 w 39333"/>
                  <a:gd name="connsiteY1" fmla="*/ 25997 h 44393"/>
                  <a:gd name="connsiteX2" fmla="*/ 0 w 39333"/>
                  <a:gd name="connsiteY2" fmla="*/ 25997 h 44393"/>
                  <a:gd name="connsiteX3" fmla="*/ 0 w 39333"/>
                  <a:gd name="connsiteY3" fmla="*/ 18264 h 44393"/>
                  <a:gd name="connsiteX4" fmla="*/ 16231 w 39333"/>
                  <a:gd name="connsiteY4" fmla="*/ 18264 h 44393"/>
                  <a:gd name="connsiteX5" fmla="*/ 16231 w 39333"/>
                  <a:gd name="connsiteY5" fmla="*/ 0 h 44393"/>
                  <a:gd name="connsiteX6" fmla="*/ 23103 w 39333"/>
                  <a:gd name="connsiteY6" fmla="*/ 0 h 44393"/>
                  <a:gd name="connsiteX7" fmla="*/ 23103 w 39333"/>
                  <a:gd name="connsiteY7" fmla="*/ 18264 h 44393"/>
                  <a:gd name="connsiteX8" fmla="*/ 39334 w 39333"/>
                  <a:gd name="connsiteY8" fmla="*/ 18264 h 44393"/>
                  <a:gd name="connsiteX9" fmla="*/ 39334 w 39333"/>
                  <a:gd name="connsiteY9" fmla="*/ 25997 h 44393"/>
                  <a:gd name="connsiteX10" fmla="*/ 23103 w 39333"/>
                  <a:gd name="connsiteY10" fmla="*/ 25997 h 44393"/>
                  <a:gd name="connsiteX11" fmla="*/ 23103 w 39333"/>
                  <a:gd name="connsiteY11" fmla="*/ 44394 h 44393"/>
                  <a:gd name="connsiteX12" fmla="*/ 16231 w 39333"/>
                  <a:gd name="connsiteY12" fmla="*/ 4439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333" h="44393">
                    <a:moveTo>
                      <a:pt x="16231" y="44394"/>
                    </a:move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3103" y="0"/>
                    </a:lnTo>
                    <a:lnTo>
                      <a:pt x="23103" y="18264"/>
                    </a:lnTo>
                    <a:lnTo>
                      <a:pt x="39334" y="18264"/>
                    </a:lnTo>
                    <a:lnTo>
                      <a:pt x="39334" y="25997"/>
                    </a:lnTo>
                    <a:lnTo>
                      <a:pt x="23103" y="25997"/>
                    </a:lnTo>
                    <a:lnTo>
                      <a:pt x="23103" y="44394"/>
                    </a:lnTo>
                    <a:lnTo>
                      <a:pt x="16231" y="4439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2E7454B6-E089-3C99-1D72-8F975194EE1D}"/>
                  </a:ext>
                </a:extLst>
              </p:cNvPr>
              <p:cNvSpPr/>
              <p:nvPr/>
            </p:nvSpPr>
            <p:spPr>
              <a:xfrm>
                <a:off x="7093256" y="2779621"/>
                <a:ext cx="21918" cy="44393"/>
              </a:xfrm>
              <a:custGeom>
                <a:avLst/>
                <a:gdLst>
                  <a:gd name="connsiteX0" fmla="*/ 21918 w 21918"/>
                  <a:gd name="connsiteY0" fmla="*/ 25997 h 44393"/>
                  <a:gd name="connsiteX1" fmla="*/ 21918 w 21918"/>
                  <a:gd name="connsiteY1" fmla="*/ 44394 h 44393"/>
                  <a:gd name="connsiteX2" fmla="*/ 16231 w 21918"/>
                  <a:gd name="connsiteY2" fmla="*/ 44394 h 44393"/>
                  <a:gd name="connsiteX3" fmla="*/ 16231 w 21918"/>
                  <a:gd name="connsiteY3" fmla="*/ 25997 h 44393"/>
                  <a:gd name="connsiteX4" fmla="*/ 0 w 21918"/>
                  <a:gd name="connsiteY4" fmla="*/ 25997 h 44393"/>
                  <a:gd name="connsiteX5" fmla="*/ 0 w 21918"/>
                  <a:gd name="connsiteY5" fmla="*/ 18264 h 44393"/>
                  <a:gd name="connsiteX6" fmla="*/ 16231 w 21918"/>
                  <a:gd name="connsiteY6" fmla="*/ 18264 h 44393"/>
                  <a:gd name="connsiteX7" fmla="*/ 16231 w 21918"/>
                  <a:gd name="connsiteY7" fmla="*/ 0 h 44393"/>
                  <a:gd name="connsiteX8" fmla="*/ 21918 w 21918"/>
                  <a:gd name="connsiteY8" fmla="*/ 0 h 44393"/>
                  <a:gd name="connsiteX9" fmla="*/ 21918 w 21918"/>
                  <a:gd name="connsiteY9" fmla="*/ 18264 h 4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918" h="44393">
                    <a:moveTo>
                      <a:pt x="21918" y="25997"/>
                    </a:moveTo>
                    <a:lnTo>
                      <a:pt x="21918" y="44394"/>
                    </a:lnTo>
                    <a:lnTo>
                      <a:pt x="16231" y="44394"/>
                    </a:lnTo>
                    <a:lnTo>
                      <a:pt x="16231" y="25997"/>
                    </a:lnTo>
                    <a:lnTo>
                      <a:pt x="0" y="25997"/>
                    </a:lnTo>
                    <a:lnTo>
                      <a:pt x="0" y="18264"/>
                    </a:lnTo>
                    <a:lnTo>
                      <a:pt x="16231" y="18264"/>
                    </a:lnTo>
                    <a:lnTo>
                      <a:pt x="16231" y="0"/>
                    </a:lnTo>
                    <a:lnTo>
                      <a:pt x="21918" y="0"/>
                    </a:lnTo>
                    <a:lnTo>
                      <a:pt x="21918" y="18264"/>
                    </a:lnTo>
                  </a:path>
                </a:pathLst>
              </a:custGeom>
              <a:grpFill/>
              <a:ln w="118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E8634F76-2B73-2352-741D-A223C1550A9C}"/>
                </a:ext>
              </a:extLst>
            </p:cNvPr>
            <p:cNvSpPr txBox="1"/>
            <p:nvPr/>
          </p:nvSpPr>
          <p:spPr>
            <a:xfrm>
              <a:off x="2885759" y="2373126"/>
              <a:ext cx="549201" cy="2921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585D"/>
                  </a:solidFill>
                  <a:latin typeface="Arial" panose="020B0604020202020204"/>
                </a:rPr>
                <a:t>57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585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/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6F956D52-2DFB-F548-F0F6-FEEB8CC2A57A}"/>
                </a:ext>
              </a:extLst>
            </p:cNvPr>
            <p:cNvSpPr txBox="1"/>
            <p:nvPr/>
          </p:nvSpPr>
          <p:spPr>
            <a:xfrm>
              <a:off x="3981399" y="2734220"/>
              <a:ext cx="562392" cy="2921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585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3 %</a:t>
              </a:r>
              <a:endParaRPr lang="de-DE" b="1" dirty="0"/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787966EE-D5E4-00A4-20AF-96FE75F0A666}"/>
                </a:ext>
              </a:extLst>
            </p:cNvPr>
            <p:cNvSpPr txBox="1"/>
            <p:nvPr/>
          </p:nvSpPr>
          <p:spPr>
            <a:xfrm>
              <a:off x="5077289" y="2726516"/>
              <a:ext cx="549442" cy="2921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585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3 %</a:t>
              </a:r>
              <a:endParaRPr lang="de-DE" b="1" dirty="0"/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4D1F0DD4-E40B-33E8-FC65-79F95330CAB8}"/>
                </a:ext>
              </a:extLst>
            </p:cNvPr>
            <p:cNvSpPr txBox="1"/>
            <p:nvPr/>
          </p:nvSpPr>
          <p:spPr>
            <a:xfrm>
              <a:off x="6156013" y="2750540"/>
              <a:ext cx="578841" cy="2921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585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3 %</a:t>
              </a:r>
              <a:endParaRPr lang="de-DE" b="1" dirty="0"/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4C5FC591-595A-1C75-27E4-8DF6F0E81182}"/>
                </a:ext>
              </a:extLst>
            </p:cNvPr>
            <p:cNvSpPr txBox="1"/>
            <p:nvPr/>
          </p:nvSpPr>
          <p:spPr>
            <a:xfrm>
              <a:off x="3292159" y="1452114"/>
              <a:ext cx="593114" cy="2921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87</a:t>
              </a:r>
              <a:r>
                <a:rPr lang="de-DE" sz="1200" b="1" dirty="0">
                  <a:solidFill>
                    <a:schemeClr val="accent6"/>
                  </a:solidFill>
                  <a:latin typeface="Arial" panose="020B0604020202020204"/>
                </a:rPr>
                <a:t>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>
                <a:solidFill>
                  <a:schemeClr val="accent6"/>
                </a:solidFill>
              </a:endParaRP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735BD450-94F5-6868-3294-394732E33FD2}"/>
                </a:ext>
              </a:extLst>
            </p:cNvPr>
            <p:cNvSpPr txBox="1"/>
            <p:nvPr/>
          </p:nvSpPr>
          <p:spPr>
            <a:xfrm>
              <a:off x="4368749" y="1848768"/>
              <a:ext cx="615401" cy="2921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6"/>
                  </a:solidFill>
                  <a:latin typeface="Arial" panose="020B0604020202020204"/>
                </a:rPr>
                <a:t>70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>
                <a:solidFill>
                  <a:schemeClr val="accent6"/>
                </a:solidFill>
              </a:endParaRP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E7EC67A4-4863-C2BE-4F33-329B602AB82B}"/>
                </a:ext>
              </a:extLst>
            </p:cNvPr>
            <p:cNvSpPr txBox="1"/>
            <p:nvPr/>
          </p:nvSpPr>
          <p:spPr>
            <a:xfrm>
              <a:off x="5477339" y="2200473"/>
              <a:ext cx="591214" cy="2921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6"/>
                  </a:solidFill>
                  <a:latin typeface="Arial" panose="020B0604020202020204"/>
                </a:rPr>
                <a:t>56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>
                <a:solidFill>
                  <a:schemeClr val="accent6"/>
                </a:solidFill>
              </a:endParaRP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82B31B2A-A25E-2460-6A28-3D188112A7E3}"/>
                </a:ext>
              </a:extLst>
            </p:cNvPr>
            <p:cNvSpPr txBox="1"/>
            <p:nvPr/>
          </p:nvSpPr>
          <p:spPr>
            <a:xfrm>
              <a:off x="6549713" y="2209258"/>
              <a:ext cx="618084" cy="2921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6"/>
                  </a:solidFill>
                  <a:latin typeface="Arial" panose="020B0604020202020204"/>
                </a:rPr>
                <a:t>53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  <a:endParaRPr lang="de-DE" b="1" dirty="0">
                <a:solidFill>
                  <a:schemeClr val="accent6"/>
                </a:solidFill>
              </a:endParaRP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81A3B9D3-A804-5E2A-C6E6-606F9F6E5ACE}"/>
                </a:ext>
              </a:extLst>
            </p:cNvPr>
            <p:cNvSpPr txBox="1"/>
            <p:nvPr/>
          </p:nvSpPr>
          <p:spPr>
            <a:xfrm>
              <a:off x="1809437" y="3129475"/>
              <a:ext cx="1916004" cy="486955"/>
            </a:xfrm>
            <a:prstGeom prst="rect">
              <a:avLst/>
            </a:prstGeom>
            <a:noFill/>
          </p:spPr>
          <p:txBody>
            <a:bodyPr wrap="square" anchor="b">
              <a:spAutoFit/>
            </a:bodyPr>
            <a:lstStyle/>
            <a:p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reignisse/</a:t>
              </a:r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</a:t>
              </a:r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tient*innen</a:t>
              </a:r>
              <a:b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FS, </a:t>
              </a:r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ate</a:t>
              </a:r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</a:t>
              </a:r>
              <a:r>
                <a:rPr lang="de-DE" sz="800" b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dian (95%-KI)</a:t>
              </a:r>
            </a:p>
            <a:p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R (95%-KI)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A0D67E7F-1D27-7321-21FD-C5A264FB90A6}"/>
                </a:ext>
              </a:extLst>
            </p:cNvPr>
            <p:cNvSpPr txBox="1"/>
            <p:nvPr/>
          </p:nvSpPr>
          <p:spPr>
            <a:xfrm>
              <a:off x="3345496" y="2999620"/>
              <a:ext cx="1077648" cy="616810"/>
            </a:xfrm>
            <a:prstGeom prst="rect">
              <a:avLst/>
            </a:prstGeom>
            <a:noFill/>
          </p:spPr>
          <p:txBody>
            <a:bodyPr wrap="square" anchor="b">
              <a:spAutoFit/>
            </a:bodyPr>
            <a:lstStyle/>
            <a:p>
              <a:pPr algn="ctr"/>
              <a:r>
                <a:rPr lang="de-DE" sz="800" b="1" dirty="0">
                  <a:solidFill>
                    <a:schemeClr val="accent2"/>
                  </a:solidFill>
                </a:rPr>
                <a:t>PD1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26/45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8,1 (9,8–NR)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,68 (0,91–3,12)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7E4E34D3-BF4C-3151-1CDD-2EFB31DB99C6}"/>
                </a:ext>
              </a:extLst>
            </p:cNvPr>
            <p:cNvSpPr txBox="1"/>
            <p:nvPr/>
          </p:nvSpPr>
          <p:spPr>
            <a:xfrm>
              <a:off x="4424035" y="2999620"/>
              <a:ext cx="1104900" cy="616810"/>
            </a:xfrm>
            <a:prstGeom prst="rect">
              <a:avLst/>
            </a:prstGeom>
            <a:noFill/>
          </p:spPr>
          <p:txBody>
            <a:bodyPr wrap="square" anchor="b">
              <a:spAutoFit/>
            </a:bodyPr>
            <a:lstStyle/>
            <a:p>
              <a:pPr algn="ctr"/>
              <a:r>
                <a:rPr lang="de-DE" sz="800" b="1" dirty="0">
                  <a:solidFill>
                    <a:schemeClr val="accent6"/>
                  </a:solidFill>
                </a:rPr>
                <a:t>TT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4/31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R (31,2–NR)</a:t>
              </a:r>
            </a:p>
            <a:p>
              <a:pPr algn="ctr"/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</a:t>
              </a: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3911C3FC-DE26-2F0A-0DF8-C59858F841B2}"/>
              </a:ext>
            </a:extLst>
          </p:cNvPr>
          <p:cNvSpPr txBox="1"/>
          <p:nvPr/>
        </p:nvSpPr>
        <p:spPr>
          <a:xfrm>
            <a:off x="9350475" y="2541076"/>
            <a:ext cx="479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vs.</a:t>
            </a:r>
          </a:p>
        </p:txBody>
      </p:sp>
      <p:sp>
        <p:nvSpPr>
          <p:cNvPr id="82" name="Textfeld 13">
            <a:extLst>
              <a:ext uri="{FF2B5EF4-FFF2-40B4-BE49-F238E27FC236}">
                <a16:creationId xmlns:a16="http://schemas.microsoft.com/office/drawing/2014/main" id="{20E469D8-5865-02DA-AB16-D46F7FF3C448}"/>
              </a:ext>
            </a:extLst>
          </p:cNvPr>
          <p:cNvSpPr txBox="1"/>
          <p:nvPr/>
        </p:nvSpPr>
        <p:spPr>
          <a:xfrm>
            <a:off x="8532883" y="6469063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517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CFDACD-1655-BF0F-BB15-97286F9E4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9758362" cy="1065278"/>
          </a:xfrm>
        </p:spPr>
        <p:txBody>
          <a:bodyPr/>
          <a:lstStyle/>
          <a:p>
            <a:r>
              <a:rPr lang="de-DE"/>
              <a:t>RFS bei Abbruch der adjuvanten Behandl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6ECDD76-FB32-AE90-5039-8C7F4347E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4</a:t>
            </a:fld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2A3ACBB-92F4-282D-E7D7-14628FA2AD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7" y="6051550"/>
            <a:ext cx="6302825" cy="587375"/>
          </a:xfrm>
        </p:spPr>
        <p:txBody>
          <a:bodyPr/>
          <a:lstStyle/>
          <a:p>
            <a:r>
              <a:rPr lang="de-DE" b="1" dirty="0"/>
              <a:t>a </a:t>
            </a:r>
            <a:r>
              <a:rPr lang="de-DE" dirty="0"/>
              <a:t>Zugelassene Therapiedauer: 12 Monate.</a:t>
            </a:r>
          </a:p>
          <a:p>
            <a:r>
              <a:rPr lang="de-DE" b="1" dirty="0"/>
              <a:t>Adj. </a:t>
            </a:r>
            <a:r>
              <a:rPr lang="de-DE" dirty="0"/>
              <a:t>Adjuvant.</a:t>
            </a:r>
            <a:r>
              <a:rPr lang="de-DE" b="1" dirty="0"/>
              <a:t> 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 </a:t>
            </a:r>
            <a:r>
              <a:rPr lang="de-DE" b="1" dirty="0"/>
              <a:t>HR </a:t>
            </a:r>
            <a:r>
              <a:rPr lang="de-DE" i="1" dirty="0"/>
              <a:t>Hazard Ratio. </a:t>
            </a:r>
            <a:r>
              <a:rPr lang="de-DE" b="1" dirty="0"/>
              <a:t>KI </a:t>
            </a:r>
            <a:r>
              <a:rPr lang="de-DE" dirty="0"/>
              <a:t>Konfidenzintervall. </a:t>
            </a:r>
            <a:r>
              <a:rPr lang="de-DE" b="1" dirty="0"/>
              <a:t>MEK </a:t>
            </a:r>
            <a:r>
              <a:rPr lang="de-DE" dirty="0" err="1"/>
              <a:t>Mitogen</a:t>
            </a:r>
            <a:r>
              <a:rPr lang="de-DE" dirty="0"/>
              <a:t>-aktivierte Proteinkinase-Kinase. </a:t>
            </a:r>
            <a:r>
              <a:rPr lang="de-DE" b="1" dirty="0"/>
              <a:t>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 err="1"/>
              <a:t>Ref</a:t>
            </a:r>
            <a:r>
              <a:rPr lang="de-DE" b="1" dirty="0"/>
              <a:t>.</a:t>
            </a:r>
            <a:r>
              <a:rPr lang="de-DE" dirty="0"/>
              <a:t> Referenz. </a:t>
            </a:r>
            <a:r>
              <a:rPr lang="de-DE" b="1" dirty="0"/>
              <a:t>RFS </a:t>
            </a:r>
            <a:r>
              <a:rPr lang="de-DE" dirty="0"/>
              <a:t>Rezidivfreies Überleben. </a:t>
            </a:r>
            <a:r>
              <a:rPr lang="de-DE" b="1" dirty="0"/>
              <a:t>TT</a:t>
            </a:r>
            <a:r>
              <a:rPr lang="de-DE" dirty="0"/>
              <a:t> Zielgerichtete Therapie. </a:t>
            </a:r>
            <a:r>
              <a:rPr lang="de-DE" b="1" dirty="0" err="1"/>
              <a:t>Tx</a:t>
            </a:r>
            <a:r>
              <a:rPr lang="de-DE" dirty="0"/>
              <a:t> Therapie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C8640AD-F223-D781-1068-545189546FE2}"/>
              </a:ext>
            </a:extLst>
          </p:cNvPr>
          <p:cNvSpPr txBox="1"/>
          <p:nvPr/>
        </p:nvSpPr>
        <p:spPr>
          <a:xfrm>
            <a:off x="511052" y="5026477"/>
            <a:ext cx="9361610" cy="119181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Die Wahrscheinlichkeit für ein Rezidiv bei vorzeitigem Therapieabbruch war bei Patient*innen unter zielgerichteter Therapie im Vergleich zur PD1-Inhibition erhöht</a:t>
            </a:r>
          </a:p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Eine frühzeitige Beendigung der adjuvanten BRAF/MEK-Inhibition innerhalb von 6 </a:t>
            </a:r>
            <a:r>
              <a:rPr lang="de-DE" sz="1600" dirty="0" err="1">
                <a:solidFill>
                  <a:schemeClr val="tx2"/>
                </a:solidFill>
              </a:rPr>
              <a:t>Monaten</a:t>
            </a:r>
            <a:r>
              <a:rPr lang="de-DE" sz="1600" baseline="30000" dirty="0" err="1">
                <a:solidFill>
                  <a:schemeClr val="tx2"/>
                </a:solidFill>
              </a:rPr>
              <a:t>a</a:t>
            </a:r>
            <a:r>
              <a:rPr lang="de-DE" sz="1600" dirty="0">
                <a:solidFill>
                  <a:schemeClr val="tx2"/>
                </a:solidFill>
              </a:rPr>
              <a:t> scheint mit einem erhöhten Rezidivrisiko assoziiert zu sein</a:t>
            </a:r>
          </a:p>
        </p:txBody>
      </p:sp>
      <p:pic>
        <p:nvPicPr>
          <p:cNvPr id="5" name="Grafik 4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8F40201C-1A5A-149A-2DD6-EF4A5DE2FC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34" y="4827072"/>
            <a:ext cx="720000" cy="720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FC4BE42-7D7B-1807-4E96-ABFCA96D6399}"/>
              </a:ext>
            </a:extLst>
          </p:cNvPr>
          <p:cNvSpPr txBox="1"/>
          <p:nvPr/>
        </p:nvSpPr>
        <p:spPr>
          <a:xfrm>
            <a:off x="7698768" y="1395530"/>
            <a:ext cx="45963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Bei vorzeitigem Abbruch der adjuvanten Therapie (≤ 6 Monate Therapiedauer) war das Rezidivrisiko höher als im PD1-Arm</a:t>
            </a:r>
          </a:p>
        </p:txBody>
      </p:sp>
      <p:pic>
        <p:nvPicPr>
          <p:cNvPr id="10" name="Grafik 9" descr="Ein Bild, das Kreis, Grafiken, Screenshot, Design enthält.&#10;&#10;KI-generierte Inhalte können fehlerhaft sein.">
            <a:extLst>
              <a:ext uri="{FF2B5EF4-FFF2-40B4-BE49-F238E27FC236}">
                <a16:creationId xmlns:a16="http://schemas.microsoft.com/office/drawing/2014/main" id="{818A2DEA-E7B0-1CF1-820C-5341D71065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93" y="2489873"/>
            <a:ext cx="1122717" cy="1122717"/>
          </a:xfrm>
          <a:prstGeom prst="rect">
            <a:avLst/>
          </a:prstGeom>
        </p:spPr>
      </p:pic>
      <p:pic>
        <p:nvPicPr>
          <p:cNvPr id="11" name="Grafik 10" descr="Ein Bild, das Kreis, Grafiken, Screenshot, Design enthält.&#10;&#10;KI-generierte Inhalte können fehlerhaft sein.">
            <a:extLst>
              <a:ext uri="{FF2B5EF4-FFF2-40B4-BE49-F238E27FC236}">
                <a16:creationId xmlns:a16="http://schemas.microsoft.com/office/drawing/2014/main" id="{BF6A3060-F525-4B8A-9D95-328B111492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448" y="2468657"/>
            <a:ext cx="1122717" cy="1122717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5661A60-6F91-A221-6898-D84F14E30912}"/>
              </a:ext>
            </a:extLst>
          </p:cNvPr>
          <p:cNvSpPr txBox="1"/>
          <p:nvPr/>
        </p:nvSpPr>
        <p:spPr>
          <a:xfrm>
            <a:off x="8166849" y="3321400"/>
            <a:ext cx="15151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2"/>
                </a:solidFill>
              </a:rPr>
              <a:t>HR 1,07 </a:t>
            </a:r>
          </a:p>
          <a:p>
            <a:pPr algn="ctr"/>
            <a:r>
              <a:rPr lang="de-DE" sz="1200" dirty="0">
                <a:solidFill>
                  <a:schemeClr val="accent2"/>
                </a:solidFill>
              </a:rPr>
              <a:t>(95%-KI 0,73–1,55)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7ADBA72-2033-88AC-643E-A8E23944E0AC}"/>
              </a:ext>
            </a:extLst>
          </p:cNvPr>
          <p:cNvSpPr txBox="1"/>
          <p:nvPr/>
        </p:nvSpPr>
        <p:spPr>
          <a:xfrm>
            <a:off x="9878227" y="3303677"/>
            <a:ext cx="151515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6"/>
                </a:solidFill>
              </a:rPr>
              <a:t>HR 1,47</a:t>
            </a:r>
            <a:r>
              <a:rPr lang="de-DE" dirty="0">
                <a:solidFill>
                  <a:schemeClr val="accent6"/>
                </a:solidFill>
              </a:rPr>
              <a:t> </a:t>
            </a:r>
          </a:p>
          <a:p>
            <a:pPr algn="ctr"/>
            <a:r>
              <a:rPr lang="de-DE" sz="1200" dirty="0">
                <a:solidFill>
                  <a:schemeClr val="accent6"/>
                </a:solidFill>
              </a:rPr>
              <a:t>(95%-KI 0,67–3,23)</a:t>
            </a:r>
            <a:endParaRPr lang="de-DE" dirty="0">
              <a:solidFill>
                <a:schemeClr val="accent6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841293F-66C4-FB40-A803-E7D4F43B7888}"/>
              </a:ext>
            </a:extLst>
          </p:cNvPr>
          <p:cNvSpPr txBox="1"/>
          <p:nvPr/>
        </p:nvSpPr>
        <p:spPr>
          <a:xfrm>
            <a:off x="8641085" y="2399125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2"/>
                </a:solidFill>
              </a:rPr>
              <a:t>PD1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1394637-BFBB-EDCE-56A9-A986F3F2928C}"/>
              </a:ext>
            </a:extLst>
          </p:cNvPr>
          <p:cNvSpPr txBox="1"/>
          <p:nvPr/>
        </p:nvSpPr>
        <p:spPr>
          <a:xfrm>
            <a:off x="10424863" y="2399125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6"/>
                </a:solidFill>
              </a:rPr>
              <a:t>T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D6710DC-0308-E3D2-6AE1-4F7098621E7F}"/>
              </a:ext>
            </a:extLst>
          </p:cNvPr>
          <p:cNvSpPr txBox="1"/>
          <p:nvPr/>
        </p:nvSpPr>
        <p:spPr>
          <a:xfrm>
            <a:off x="1151816" y="3598699"/>
            <a:ext cx="27156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nzahl unter Risiko</a:t>
            </a:r>
          </a:p>
        </p:txBody>
      </p:sp>
      <p:graphicFrame>
        <p:nvGraphicFramePr>
          <p:cNvPr id="17" name="Tabelle 16">
            <a:extLst>
              <a:ext uri="{FF2B5EF4-FFF2-40B4-BE49-F238E27FC236}">
                <a16:creationId xmlns:a16="http://schemas.microsoft.com/office/drawing/2014/main" id="{44BD0E5E-4038-F7D1-61FD-3C6E8D47FC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741169"/>
              </p:ext>
            </p:extLst>
          </p:nvPr>
        </p:nvGraphicFramePr>
        <p:xfrm>
          <a:off x="536478" y="3844620"/>
          <a:ext cx="7244365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0697">
                  <a:extLst>
                    <a:ext uri="{9D8B030D-6E8A-4147-A177-3AD203B41FA5}">
                      <a16:colId xmlns:a16="http://schemas.microsoft.com/office/drawing/2014/main" val="1378299196"/>
                    </a:ext>
                  </a:extLst>
                </a:gridCol>
                <a:gridCol w="600666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486615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577856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619851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529780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529780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529780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529780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529780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529780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2"/>
                          </a:solidFill>
                        </a:rPr>
                        <a:t>PD1: </a:t>
                      </a:r>
                      <a:r>
                        <a:rPr lang="de-DE" sz="1000" b="1" dirty="0" err="1">
                          <a:solidFill>
                            <a:schemeClr val="accent2"/>
                          </a:solidFill>
                        </a:rPr>
                        <a:t>Tx</a:t>
                      </a:r>
                      <a:r>
                        <a:rPr lang="de-DE" sz="1000" b="1" dirty="0">
                          <a:solidFill>
                            <a:schemeClr val="accent2"/>
                          </a:solidFill>
                        </a:rPr>
                        <a:t> über 6 Monat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30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23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9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83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6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5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13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9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4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PD1: </a:t>
                      </a:r>
                      <a:r>
                        <a:rPr lang="de-DE" sz="1000" b="1" dirty="0" err="1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Tx</a:t>
                      </a:r>
                      <a:r>
                        <a:rPr lang="de-DE" sz="1000" b="1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 bis einschließlich 6 Monat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73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5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4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3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33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28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2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1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6"/>
                          </a:solidFill>
                        </a:rPr>
                        <a:t>TT: </a:t>
                      </a:r>
                      <a:r>
                        <a:rPr lang="de-DE" sz="1000" b="1" dirty="0" err="1">
                          <a:solidFill>
                            <a:schemeClr val="accent6"/>
                          </a:solidFill>
                        </a:rPr>
                        <a:t>Tx</a:t>
                      </a:r>
                      <a:r>
                        <a:rPr lang="de-DE" sz="1000" b="1" dirty="0">
                          <a:solidFill>
                            <a:schemeClr val="accent6"/>
                          </a:solidFill>
                        </a:rPr>
                        <a:t> über 6 Monat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8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8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6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6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54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44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3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2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12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/>
                          </a:solidFill>
                        </a:rPr>
                        <a:t>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02855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TT: </a:t>
                      </a:r>
                      <a:r>
                        <a:rPr lang="de-DE" sz="1000" b="1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Tx</a:t>
                      </a:r>
                      <a:r>
                        <a:rPr lang="de-DE" sz="1000" b="1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 bis einschließlich 6 Monat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2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16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4659795"/>
                  </a:ext>
                </a:extLst>
              </a:tr>
            </a:tbl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E0BDE283-7D18-F80C-9937-1A5D0FB6BC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4290672"/>
              </p:ext>
            </p:extLst>
          </p:nvPr>
        </p:nvGraphicFramePr>
        <p:xfrm>
          <a:off x="1457421" y="986068"/>
          <a:ext cx="6467766" cy="2826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891B4BA-3767-E26C-8AAD-E93F84F9F6CB}"/>
              </a:ext>
            </a:extLst>
          </p:cNvPr>
          <p:cNvCxnSpPr>
            <a:cxnSpLocks/>
          </p:cNvCxnSpPr>
          <p:nvPr/>
        </p:nvCxnSpPr>
        <p:spPr>
          <a:xfrm>
            <a:off x="6970803" y="2120761"/>
            <a:ext cx="0" cy="1198254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C602BD1-0926-6984-7F26-AFF0174BA68A}"/>
              </a:ext>
            </a:extLst>
          </p:cNvPr>
          <p:cNvCxnSpPr>
            <a:cxnSpLocks/>
          </p:cNvCxnSpPr>
          <p:nvPr/>
        </p:nvCxnSpPr>
        <p:spPr>
          <a:xfrm>
            <a:off x="3710078" y="1522274"/>
            <a:ext cx="0" cy="179674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B157E3B-DA64-660F-8D72-1358E76F6DD8}"/>
              </a:ext>
            </a:extLst>
          </p:cNvPr>
          <p:cNvCxnSpPr>
            <a:cxnSpLocks/>
          </p:cNvCxnSpPr>
          <p:nvPr/>
        </p:nvCxnSpPr>
        <p:spPr>
          <a:xfrm>
            <a:off x="4787726" y="1781036"/>
            <a:ext cx="0" cy="1537979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0DF970BA-76CF-C45D-5657-F486592F7306}"/>
              </a:ext>
            </a:extLst>
          </p:cNvPr>
          <p:cNvCxnSpPr>
            <a:cxnSpLocks/>
          </p:cNvCxnSpPr>
          <p:nvPr/>
        </p:nvCxnSpPr>
        <p:spPr>
          <a:xfrm>
            <a:off x="5887862" y="2054086"/>
            <a:ext cx="0" cy="1264929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4EFFDD06-4AC6-267D-CB6A-11985225AE14}"/>
              </a:ext>
            </a:extLst>
          </p:cNvPr>
          <p:cNvSpPr txBox="1"/>
          <p:nvPr/>
        </p:nvSpPr>
        <p:spPr>
          <a:xfrm>
            <a:off x="3247609" y="1974675"/>
            <a:ext cx="65613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9 %</a:t>
            </a:r>
            <a:endParaRPr lang="de-DE" b="1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1D4FF70-2087-0FB8-BCC8-F3C9E79E57D3}"/>
              </a:ext>
            </a:extLst>
          </p:cNvPr>
          <p:cNvSpPr txBox="1"/>
          <p:nvPr/>
        </p:nvSpPr>
        <p:spPr>
          <a:xfrm>
            <a:off x="4328915" y="2218353"/>
            <a:ext cx="5360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rgbClr val="FF585D"/>
                </a:solidFill>
                <a:latin typeface="Arial" panose="020B0604020202020204"/>
              </a:rPr>
              <a:t>62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49EE0CF-1BD9-A6F6-6E58-05FB640BF3C1}"/>
              </a:ext>
            </a:extLst>
          </p:cNvPr>
          <p:cNvSpPr txBox="1"/>
          <p:nvPr/>
        </p:nvSpPr>
        <p:spPr>
          <a:xfrm>
            <a:off x="5805264" y="1773177"/>
            <a:ext cx="5682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rgbClr val="FF585D"/>
                </a:solidFill>
                <a:latin typeface="Arial" panose="020B0604020202020204"/>
              </a:rPr>
              <a:t>57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82A0E91-183C-7658-A759-57D026058F52}"/>
              </a:ext>
            </a:extLst>
          </p:cNvPr>
          <p:cNvSpPr txBox="1"/>
          <p:nvPr/>
        </p:nvSpPr>
        <p:spPr>
          <a:xfrm>
            <a:off x="6890288" y="1821060"/>
            <a:ext cx="5734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rgbClr val="FF585D"/>
                </a:solidFill>
                <a:latin typeface="Arial" panose="020B0604020202020204"/>
              </a:rPr>
              <a:t>55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585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15763BC4-8329-2A28-D437-73DC917FE736}"/>
              </a:ext>
            </a:extLst>
          </p:cNvPr>
          <p:cNvSpPr txBox="1"/>
          <p:nvPr/>
        </p:nvSpPr>
        <p:spPr>
          <a:xfrm>
            <a:off x="3613879" y="1084721"/>
            <a:ext cx="56834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2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6F762E4-1307-75EE-F993-71A802A0B63B}"/>
              </a:ext>
            </a:extLst>
          </p:cNvPr>
          <p:cNvSpPr txBox="1"/>
          <p:nvPr/>
        </p:nvSpPr>
        <p:spPr>
          <a:xfrm>
            <a:off x="4697613" y="1511466"/>
            <a:ext cx="6021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70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A348822-5491-4395-B1B1-EDB281B32F54}"/>
              </a:ext>
            </a:extLst>
          </p:cNvPr>
          <p:cNvSpPr txBox="1"/>
          <p:nvPr/>
        </p:nvSpPr>
        <p:spPr>
          <a:xfrm>
            <a:off x="5810100" y="1601254"/>
            <a:ext cx="5477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58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E3402DA0-F2F8-BD05-96B0-CBF0BCA8D34E}"/>
              </a:ext>
            </a:extLst>
          </p:cNvPr>
          <p:cNvSpPr txBox="1"/>
          <p:nvPr/>
        </p:nvSpPr>
        <p:spPr>
          <a:xfrm>
            <a:off x="6896851" y="1648341"/>
            <a:ext cx="5872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  <a:latin typeface="Arial" panose="020B0604020202020204"/>
              </a:rPr>
              <a:t>55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/>
              </a:solidFill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63C305F-5C1B-54FB-13CC-22E9980EDD7F}"/>
              </a:ext>
            </a:extLst>
          </p:cNvPr>
          <p:cNvSpPr txBox="1"/>
          <p:nvPr/>
        </p:nvSpPr>
        <p:spPr>
          <a:xfrm>
            <a:off x="2174020" y="2938193"/>
            <a:ext cx="1314074" cy="3385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reignisse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/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tient*innen</a:t>
            </a:r>
            <a:br>
              <a:rPr lang="de-DE" sz="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R (95%-KI)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17D5202C-B991-2226-3EFB-9809E23A5A4B}"/>
              </a:ext>
            </a:extLst>
          </p:cNvPr>
          <p:cNvSpPr txBox="1"/>
          <p:nvPr/>
        </p:nvSpPr>
        <p:spPr>
          <a:xfrm>
            <a:off x="3585805" y="2700202"/>
            <a:ext cx="1219118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2"/>
                </a:solidFill>
              </a:rPr>
              <a:t>PD1: </a:t>
            </a:r>
            <a:r>
              <a:rPr lang="de-DE" sz="800" b="1" dirty="0" err="1">
                <a:solidFill>
                  <a:schemeClr val="accent2"/>
                </a:solidFill>
              </a:rPr>
              <a:t>Tx</a:t>
            </a:r>
            <a:r>
              <a:rPr lang="de-DE" sz="800" b="1" dirty="0">
                <a:solidFill>
                  <a:schemeClr val="accent2"/>
                </a:solidFill>
              </a:rPr>
              <a:t> über 6 Monate</a:t>
            </a:r>
          </a:p>
          <a:p>
            <a:pPr algn="ctr"/>
            <a:r>
              <a:rPr lang="de-DE" sz="800" b="1" dirty="0">
                <a:solidFill>
                  <a:schemeClr val="accent2"/>
                </a:solidFill>
              </a:rPr>
              <a:t> 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30/301</a:t>
            </a:r>
          </a:p>
          <a:p>
            <a:pPr algn="ctr"/>
            <a:r>
              <a:rPr lang="de-DE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f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74B7A78F-2F54-1E39-8297-60B67577F1EB}"/>
              </a:ext>
            </a:extLst>
          </p:cNvPr>
          <p:cNvSpPr txBox="1"/>
          <p:nvPr/>
        </p:nvSpPr>
        <p:spPr>
          <a:xfrm>
            <a:off x="4655455" y="2697758"/>
            <a:ext cx="1376583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PD1: </a:t>
            </a:r>
            <a:r>
              <a:rPr lang="de-DE" sz="800" b="1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Tx</a:t>
            </a:r>
            <a:r>
              <a:rPr lang="de-DE" sz="8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bis ein-schließlich 6 Monate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1/73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,07 (0,73–1,55)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778522F-CCE2-A11B-7F2D-B609FAA76DBA}"/>
              </a:ext>
            </a:extLst>
          </p:cNvPr>
          <p:cNvSpPr txBox="1"/>
          <p:nvPr/>
        </p:nvSpPr>
        <p:spPr>
          <a:xfrm>
            <a:off x="5897019" y="2691972"/>
            <a:ext cx="1077648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6"/>
                </a:solidFill>
              </a:rPr>
              <a:t>TT: </a:t>
            </a:r>
            <a:r>
              <a:rPr lang="de-DE" sz="800" b="1" dirty="0" err="1">
                <a:solidFill>
                  <a:schemeClr val="accent6"/>
                </a:solidFill>
              </a:rPr>
              <a:t>Tx</a:t>
            </a:r>
            <a:r>
              <a:rPr lang="de-DE" sz="800" b="1" dirty="0">
                <a:solidFill>
                  <a:schemeClr val="accent6"/>
                </a:solidFill>
              </a:rPr>
              <a:t> über 6 Monate</a:t>
            </a:r>
          </a:p>
          <a:p>
            <a:pPr algn="ctr"/>
            <a:r>
              <a:rPr lang="de-DE" sz="800" b="1" dirty="0">
                <a:solidFill>
                  <a:schemeClr val="accent6"/>
                </a:solidFill>
              </a:rPr>
              <a:t> 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6/85</a:t>
            </a:r>
          </a:p>
          <a:p>
            <a:pPr algn="ctr"/>
            <a:r>
              <a:rPr lang="de-DE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f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6EAB0930-AF00-1B0A-4C21-7F5F7416644E}"/>
              </a:ext>
            </a:extLst>
          </p:cNvPr>
          <p:cNvSpPr txBox="1"/>
          <p:nvPr/>
        </p:nvSpPr>
        <p:spPr>
          <a:xfrm>
            <a:off x="6907662" y="2690819"/>
            <a:ext cx="1359364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/>
            <a:r>
              <a:rPr lang="de-DE" sz="8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TT: </a:t>
            </a:r>
            <a:r>
              <a:rPr lang="de-DE" sz="800" b="1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Tx</a:t>
            </a:r>
            <a:r>
              <a:rPr lang="de-DE" sz="8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bis ein-schließlich 6 Monate</a:t>
            </a:r>
          </a:p>
          <a:p>
            <a:pPr algn="ctr"/>
            <a:r>
              <a:rPr lang="de-DE" sz="8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0/21</a:t>
            </a:r>
          </a:p>
          <a:p>
            <a:pPr algn="ctr"/>
            <a:r>
              <a:rPr lang="de-DE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,47 (0,67–3,23)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EF0FD231-6FBB-739C-E218-79B610066BE0}"/>
              </a:ext>
            </a:extLst>
          </p:cNvPr>
          <p:cNvSpPr txBox="1"/>
          <p:nvPr/>
        </p:nvSpPr>
        <p:spPr>
          <a:xfrm>
            <a:off x="3240824" y="2150670"/>
            <a:ext cx="59251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/>
              </a:rPr>
              <a:t>55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3168CDF-94A4-F5F2-43D9-7413B7A5D10C}"/>
              </a:ext>
            </a:extLst>
          </p:cNvPr>
          <p:cNvSpPr txBox="1"/>
          <p:nvPr/>
        </p:nvSpPr>
        <p:spPr>
          <a:xfrm>
            <a:off x="4328915" y="2379819"/>
            <a:ext cx="53914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5 %</a:t>
            </a:r>
            <a:endParaRPr lang="de-DE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E5AF7769-BD97-D803-B6B4-CA4D87988E7D}"/>
              </a:ext>
            </a:extLst>
          </p:cNvPr>
          <p:cNvSpPr txBox="1"/>
          <p:nvPr/>
        </p:nvSpPr>
        <p:spPr>
          <a:xfrm>
            <a:off x="5431399" y="2320537"/>
            <a:ext cx="5711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/>
              </a:rPr>
              <a:t>50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EBA2C57D-8AD1-69D3-DC5D-C861355FA328}"/>
              </a:ext>
            </a:extLst>
          </p:cNvPr>
          <p:cNvSpPr txBox="1"/>
          <p:nvPr/>
        </p:nvSpPr>
        <p:spPr>
          <a:xfrm>
            <a:off x="6517972" y="2287500"/>
            <a:ext cx="5298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/>
              </a:rPr>
              <a:t>50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EF3FA6B5-FFBF-7EF6-875F-4C74EE413F03}"/>
              </a:ext>
            </a:extLst>
          </p:cNvPr>
          <p:cNvSpPr txBox="1"/>
          <p:nvPr/>
        </p:nvSpPr>
        <p:spPr>
          <a:xfrm>
            <a:off x="3609904" y="1261279"/>
            <a:ext cx="5487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anose="020B0604020202020204"/>
              </a:rPr>
              <a:t>77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9CDBBC03-7BAF-A1F0-B04C-0052A5CF801A}"/>
              </a:ext>
            </a:extLst>
          </p:cNvPr>
          <p:cNvSpPr txBox="1"/>
          <p:nvPr/>
        </p:nvSpPr>
        <p:spPr>
          <a:xfrm>
            <a:off x="4328915" y="2053802"/>
            <a:ext cx="54723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anose="020B0604020202020204"/>
              </a:rPr>
              <a:t>63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BDFDA2FD-2219-EBE2-FC55-082000F069ED}"/>
              </a:ext>
            </a:extLst>
          </p:cNvPr>
          <p:cNvSpPr txBox="1"/>
          <p:nvPr/>
        </p:nvSpPr>
        <p:spPr>
          <a:xfrm>
            <a:off x="5439486" y="2159976"/>
            <a:ext cx="5630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anose="020B0604020202020204"/>
              </a:rPr>
              <a:t>55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lang="de-DE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3803233D-74D5-BBEF-02F9-33E07705D439}"/>
              </a:ext>
            </a:extLst>
          </p:cNvPr>
          <p:cNvSpPr txBox="1"/>
          <p:nvPr/>
        </p:nvSpPr>
        <p:spPr>
          <a:xfrm>
            <a:off x="6514897" y="2459092"/>
            <a:ext cx="5711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3 %</a:t>
            </a:r>
            <a:endParaRPr lang="de-DE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44" name="Grafik 89">
            <a:extLst>
              <a:ext uri="{FF2B5EF4-FFF2-40B4-BE49-F238E27FC236}">
                <a16:creationId xmlns:a16="http://schemas.microsoft.com/office/drawing/2014/main" id="{64EBCCCC-EE41-1F7F-61BF-5EC2D93C0EA7}"/>
              </a:ext>
            </a:extLst>
          </p:cNvPr>
          <p:cNvGrpSpPr/>
          <p:nvPr/>
        </p:nvGrpSpPr>
        <p:grpSpPr>
          <a:xfrm>
            <a:off x="2599882" y="1101088"/>
            <a:ext cx="5015331" cy="1230211"/>
            <a:chOff x="2129265" y="1174252"/>
            <a:chExt cx="5015331" cy="1230211"/>
          </a:xfrm>
          <a:noFill/>
        </p:grpSpPr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5B2CC683-4A40-0C13-80E0-45D252EF4E3F}"/>
                </a:ext>
              </a:extLst>
            </p:cNvPr>
            <p:cNvSpPr/>
            <p:nvPr/>
          </p:nvSpPr>
          <p:spPr>
            <a:xfrm>
              <a:off x="2129265" y="1174252"/>
              <a:ext cx="5015331" cy="1208152"/>
            </a:xfrm>
            <a:custGeom>
              <a:avLst/>
              <a:gdLst>
                <a:gd name="connsiteX0" fmla="*/ 0 w 5015331"/>
                <a:gd name="connsiteY0" fmla="*/ 0 h 1208152"/>
                <a:gd name="connsiteX1" fmla="*/ 5228 w 5015331"/>
                <a:gd name="connsiteY1" fmla="*/ 0 h 1208152"/>
                <a:gd name="connsiteX2" fmla="*/ 5228 w 5015331"/>
                <a:gd name="connsiteY2" fmla="*/ 14026 h 1208152"/>
                <a:gd name="connsiteX3" fmla="*/ 22059 w 5015331"/>
                <a:gd name="connsiteY3" fmla="*/ 14026 h 1208152"/>
                <a:gd name="connsiteX4" fmla="*/ 22059 w 5015331"/>
                <a:gd name="connsiteY4" fmla="*/ 21422 h 1208152"/>
                <a:gd name="connsiteX5" fmla="*/ 46158 w 5015331"/>
                <a:gd name="connsiteY5" fmla="*/ 21422 h 1208152"/>
                <a:gd name="connsiteX6" fmla="*/ 46158 w 5015331"/>
                <a:gd name="connsiteY6" fmla="*/ 46286 h 1208152"/>
                <a:gd name="connsiteX7" fmla="*/ 77398 w 5015331"/>
                <a:gd name="connsiteY7" fmla="*/ 46286 h 1208152"/>
                <a:gd name="connsiteX8" fmla="*/ 77398 w 5015331"/>
                <a:gd name="connsiteY8" fmla="*/ 74211 h 1208152"/>
                <a:gd name="connsiteX9" fmla="*/ 95760 w 5015331"/>
                <a:gd name="connsiteY9" fmla="*/ 74211 h 1208152"/>
                <a:gd name="connsiteX10" fmla="*/ 95760 w 5015331"/>
                <a:gd name="connsiteY10" fmla="*/ 95122 h 1208152"/>
                <a:gd name="connsiteX11" fmla="*/ 105578 w 5015331"/>
                <a:gd name="connsiteY11" fmla="*/ 95122 h 1208152"/>
                <a:gd name="connsiteX12" fmla="*/ 105578 w 5015331"/>
                <a:gd name="connsiteY12" fmla="*/ 104430 h 1208152"/>
                <a:gd name="connsiteX13" fmla="*/ 124832 w 5015331"/>
                <a:gd name="connsiteY13" fmla="*/ 104430 h 1208152"/>
                <a:gd name="connsiteX14" fmla="*/ 124832 w 5015331"/>
                <a:gd name="connsiteY14" fmla="*/ 115269 h 1208152"/>
                <a:gd name="connsiteX15" fmla="*/ 138985 w 5015331"/>
                <a:gd name="connsiteY15" fmla="*/ 115269 h 1208152"/>
                <a:gd name="connsiteX16" fmla="*/ 138985 w 5015331"/>
                <a:gd name="connsiteY16" fmla="*/ 132100 h 1208152"/>
                <a:gd name="connsiteX17" fmla="*/ 156327 w 5015331"/>
                <a:gd name="connsiteY17" fmla="*/ 132100 h 1208152"/>
                <a:gd name="connsiteX18" fmla="*/ 156327 w 5015331"/>
                <a:gd name="connsiteY18" fmla="*/ 139878 h 1208152"/>
                <a:gd name="connsiteX19" fmla="*/ 176856 w 5015331"/>
                <a:gd name="connsiteY19" fmla="*/ 139878 h 1208152"/>
                <a:gd name="connsiteX20" fmla="*/ 176856 w 5015331"/>
                <a:gd name="connsiteY20" fmla="*/ 151099 h 1208152"/>
                <a:gd name="connsiteX21" fmla="*/ 205673 w 5015331"/>
                <a:gd name="connsiteY21" fmla="*/ 151099 h 1208152"/>
                <a:gd name="connsiteX22" fmla="*/ 205673 w 5015331"/>
                <a:gd name="connsiteY22" fmla="*/ 163212 h 1208152"/>
                <a:gd name="connsiteX23" fmla="*/ 215109 w 5015331"/>
                <a:gd name="connsiteY23" fmla="*/ 163212 h 1208152"/>
                <a:gd name="connsiteX24" fmla="*/ 215109 w 5015331"/>
                <a:gd name="connsiteY24" fmla="*/ 194962 h 1208152"/>
                <a:gd name="connsiteX25" fmla="*/ 237168 w 5015331"/>
                <a:gd name="connsiteY25" fmla="*/ 194962 h 1208152"/>
                <a:gd name="connsiteX26" fmla="*/ 237168 w 5015331"/>
                <a:gd name="connsiteY26" fmla="*/ 204015 h 1208152"/>
                <a:gd name="connsiteX27" fmla="*/ 253999 w 5015331"/>
                <a:gd name="connsiteY27" fmla="*/ 204015 h 1208152"/>
                <a:gd name="connsiteX28" fmla="*/ 253999 w 5015331"/>
                <a:gd name="connsiteY28" fmla="*/ 217276 h 1208152"/>
                <a:gd name="connsiteX29" fmla="*/ 261777 w 5015331"/>
                <a:gd name="connsiteY29" fmla="*/ 217276 h 1208152"/>
                <a:gd name="connsiteX30" fmla="*/ 261777 w 5015331"/>
                <a:gd name="connsiteY30" fmla="*/ 231557 h 1208152"/>
                <a:gd name="connsiteX31" fmla="*/ 267515 w 5015331"/>
                <a:gd name="connsiteY31" fmla="*/ 231557 h 1208152"/>
                <a:gd name="connsiteX32" fmla="*/ 267515 w 5015331"/>
                <a:gd name="connsiteY32" fmla="*/ 250046 h 1208152"/>
                <a:gd name="connsiteX33" fmla="*/ 279756 w 5015331"/>
                <a:gd name="connsiteY33" fmla="*/ 250046 h 1208152"/>
                <a:gd name="connsiteX34" fmla="*/ 279756 w 5015331"/>
                <a:gd name="connsiteY34" fmla="*/ 258207 h 1208152"/>
                <a:gd name="connsiteX35" fmla="*/ 296842 w 5015331"/>
                <a:gd name="connsiteY35" fmla="*/ 258207 h 1208152"/>
                <a:gd name="connsiteX36" fmla="*/ 296842 w 5015331"/>
                <a:gd name="connsiteY36" fmla="*/ 263307 h 1208152"/>
                <a:gd name="connsiteX37" fmla="*/ 325659 w 5015331"/>
                <a:gd name="connsiteY37" fmla="*/ 263307 h 1208152"/>
                <a:gd name="connsiteX38" fmla="*/ 325659 w 5015331"/>
                <a:gd name="connsiteY38" fmla="*/ 278353 h 1208152"/>
                <a:gd name="connsiteX39" fmla="*/ 355879 w 5015331"/>
                <a:gd name="connsiteY39" fmla="*/ 278353 h 1208152"/>
                <a:gd name="connsiteX40" fmla="*/ 355879 w 5015331"/>
                <a:gd name="connsiteY40" fmla="*/ 287534 h 1208152"/>
                <a:gd name="connsiteX41" fmla="*/ 364550 w 5015331"/>
                <a:gd name="connsiteY41" fmla="*/ 287534 h 1208152"/>
                <a:gd name="connsiteX42" fmla="*/ 364550 w 5015331"/>
                <a:gd name="connsiteY42" fmla="*/ 296460 h 1208152"/>
                <a:gd name="connsiteX43" fmla="*/ 372965 w 5015331"/>
                <a:gd name="connsiteY43" fmla="*/ 296460 h 1208152"/>
                <a:gd name="connsiteX44" fmla="*/ 372965 w 5015331"/>
                <a:gd name="connsiteY44" fmla="*/ 302198 h 1208152"/>
                <a:gd name="connsiteX45" fmla="*/ 390434 w 5015331"/>
                <a:gd name="connsiteY45" fmla="*/ 302198 h 1208152"/>
                <a:gd name="connsiteX46" fmla="*/ 390434 w 5015331"/>
                <a:gd name="connsiteY46" fmla="*/ 326297 h 1208152"/>
                <a:gd name="connsiteX47" fmla="*/ 402675 w 5015331"/>
                <a:gd name="connsiteY47" fmla="*/ 326297 h 1208152"/>
                <a:gd name="connsiteX48" fmla="*/ 402675 w 5015331"/>
                <a:gd name="connsiteY48" fmla="*/ 348611 h 1208152"/>
                <a:gd name="connsiteX49" fmla="*/ 410581 w 5015331"/>
                <a:gd name="connsiteY49" fmla="*/ 348611 h 1208152"/>
                <a:gd name="connsiteX50" fmla="*/ 410581 w 5015331"/>
                <a:gd name="connsiteY50" fmla="*/ 362510 h 1208152"/>
                <a:gd name="connsiteX51" fmla="*/ 424352 w 5015331"/>
                <a:gd name="connsiteY51" fmla="*/ 362510 h 1208152"/>
                <a:gd name="connsiteX52" fmla="*/ 424352 w 5015331"/>
                <a:gd name="connsiteY52" fmla="*/ 368375 h 1208152"/>
                <a:gd name="connsiteX53" fmla="*/ 441693 w 5015331"/>
                <a:gd name="connsiteY53" fmla="*/ 368375 h 1208152"/>
                <a:gd name="connsiteX54" fmla="*/ 441693 w 5015331"/>
                <a:gd name="connsiteY54" fmla="*/ 392602 h 1208152"/>
                <a:gd name="connsiteX55" fmla="*/ 449216 w 5015331"/>
                <a:gd name="connsiteY55" fmla="*/ 392602 h 1208152"/>
                <a:gd name="connsiteX56" fmla="*/ 449216 w 5015331"/>
                <a:gd name="connsiteY56" fmla="*/ 403950 h 1208152"/>
                <a:gd name="connsiteX57" fmla="*/ 463115 w 5015331"/>
                <a:gd name="connsiteY57" fmla="*/ 403950 h 1208152"/>
                <a:gd name="connsiteX58" fmla="*/ 463115 w 5015331"/>
                <a:gd name="connsiteY58" fmla="*/ 411091 h 1208152"/>
                <a:gd name="connsiteX59" fmla="*/ 477651 w 5015331"/>
                <a:gd name="connsiteY59" fmla="*/ 411091 h 1208152"/>
                <a:gd name="connsiteX60" fmla="*/ 477651 w 5015331"/>
                <a:gd name="connsiteY60" fmla="*/ 417976 h 1208152"/>
                <a:gd name="connsiteX61" fmla="*/ 501112 w 5015331"/>
                <a:gd name="connsiteY61" fmla="*/ 417976 h 1208152"/>
                <a:gd name="connsiteX62" fmla="*/ 501112 w 5015331"/>
                <a:gd name="connsiteY62" fmla="*/ 431875 h 1208152"/>
                <a:gd name="connsiteX63" fmla="*/ 516924 w 5015331"/>
                <a:gd name="connsiteY63" fmla="*/ 431875 h 1208152"/>
                <a:gd name="connsiteX64" fmla="*/ 516924 w 5015331"/>
                <a:gd name="connsiteY64" fmla="*/ 444881 h 1208152"/>
                <a:gd name="connsiteX65" fmla="*/ 535285 w 5015331"/>
                <a:gd name="connsiteY65" fmla="*/ 444881 h 1208152"/>
                <a:gd name="connsiteX66" fmla="*/ 535285 w 5015331"/>
                <a:gd name="connsiteY66" fmla="*/ 454189 h 1208152"/>
                <a:gd name="connsiteX67" fmla="*/ 547526 w 5015331"/>
                <a:gd name="connsiteY67" fmla="*/ 454189 h 1208152"/>
                <a:gd name="connsiteX68" fmla="*/ 547526 w 5015331"/>
                <a:gd name="connsiteY68" fmla="*/ 464645 h 1208152"/>
                <a:gd name="connsiteX69" fmla="*/ 553901 w 5015331"/>
                <a:gd name="connsiteY69" fmla="*/ 464645 h 1208152"/>
                <a:gd name="connsiteX70" fmla="*/ 553901 w 5015331"/>
                <a:gd name="connsiteY70" fmla="*/ 480711 h 1208152"/>
                <a:gd name="connsiteX71" fmla="*/ 566142 w 5015331"/>
                <a:gd name="connsiteY71" fmla="*/ 480711 h 1208152"/>
                <a:gd name="connsiteX72" fmla="*/ 566142 w 5015331"/>
                <a:gd name="connsiteY72" fmla="*/ 488489 h 1208152"/>
                <a:gd name="connsiteX73" fmla="*/ 599167 w 5015331"/>
                <a:gd name="connsiteY73" fmla="*/ 488489 h 1208152"/>
                <a:gd name="connsiteX74" fmla="*/ 599167 w 5015331"/>
                <a:gd name="connsiteY74" fmla="*/ 493717 h 1208152"/>
                <a:gd name="connsiteX75" fmla="*/ 645708 w 5015331"/>
                <a:gd name="connsiteY75" fmla="*/ 493717 h 1208152"/>
                <a:gd name="connsiteX76" fmla="*/ 645708 w 5015331"/>
                <a:gd name="connsiteY76" fmla="*/ 500220 h 1208152"/>
                <a:gd name="connsiteX77" fmla="*/ 665855 w 5015331"/>
                <a:gd name="connsiteY77" fmla="*/ 500220 h 1208152"/>
                <a:gd name="connsiteX78" fmla="*/ 665855 w 5015331"/>
                <a:gd name="connsiteY78" fmla="*/ 510803 h 1208152"/>
                <a:gd name="connsiteX79" fmla="*/ 678223 w 5015331"/>
                <a:gd name="connsiteY79" fmla="*/ 510803 h 1208152"/>
                <a:gd name="connsiteX80" fmla="*/ 678223 w 5015331"/>
                <a:gd name="connsiteY80" fmla="*/ 522151 h 1208152"/>
                <a:gd name="connsiteX81" fmla="*/ 684089 w 5015331"/>
                <a:gd name="connsiteY81" fmla="*/ 522151 h 1208152"/>
                <a:gd name="connsiteX82" fmla="*/ 684089 w 5015331"/>
                <a:gd name="connsiteY82" fmla="*/ 540003 h 1208152"/>
                <a:gd name="connsiteX83" fmla="*/ 705638 w 5015331"/>
                <a:gd name="connsiteY83" fmla="*/ 540003 h 1208152"/>
                <a:gd name="connsiteX84" fmla="*/ 705638 w 5015331"/>
                <a:gd name="connsiteY84" fmla="*/ 545231 h 1208152"/>
                <a:gd name="connsiteX85" fmla="*/ 716093 w 5015331"/>
                <a:gd name="connsiteY85" fmla="*/ 545231 h 1208152"/>
                <a:gd name="connsiteX86" fmla="*/ 716093 w 5015331"/>
                <a:gd name="connsiteY86" fmla="*/ 550076 h 1208152"/>
                <a:gd name="connsiteX87" fmla="*/ 744273 w 5015331"/>
                <a:gd name="connsiteY87" fmla="*/ 550076 h 1208152"/>
                <a:gd name="connsiteX88" fmla="*/ 744273 w 5015331"/>
                <a:gd name="connsiteY88" fmla="*/ 561424 h 1208152"/>
                <a:gd name="connsiteX89" fmla="*/ 751924 w 5015331"/>
                <a:gd name="connsiteY89" fmla="*/ 561424 h 1208152"/>
                <a:gd name="connsiteX90" fmla="*/ 751924 w 5015331"/>
                <a:gd name="connsiteY90" fmla="*/ 570860 h 1208152"/>
                <a:gd name="connsiteX91" fmla="*/ 782526 w 5015331"/>
                <a:gd name="connsiteY91" fmla="*/ 570860 h 1208152"/>
                <a:gd name="connsiteX92" fmla="*/ 782526 w 5015331"/>
                <a:gd name="connsiteY92" fmla="*/ 576088 h 1208152"/>
                <a:gd name="connsiteX93" fmla="*/ 821544 w 5015331"/>
                <a:gd name="connsiteY93" fmla="*/ 576088 h 1208152"/>
                <a:gd name="connsiteX94" fmla="*/ 821544 w 5015331"/>
                <a:gd name="connsiteY94" fmla="*/ 590624 h 1208152"/>
                <a:gd name="connsiteX95" fmla="*/ 839140 w 5015331"/>
                <a:gd name="connsiteY95" fmla="*/ 590624 h 1208152"/>
                <a:gd name="connsiteX96" fmla="*/ 839140 w 5015331"/>
                <a:gd name="connsiteY96" fmla="*/ 600060 h 1208152"/>
                <a:gd name="connsiteX97" fmla="*/ 886956 w 5015331"/>
                <a:gd name="connsiteY97" fmla="*/ 600060 h 1208152"/>
                <a:gd name="connsiteX98" fmla="*/ 886956 w 5015331"/>
                <a:gd name="connsiteY98" fmla="*/ 611026 h 1208152"/>
                <a:gd name="connsiteX99" fmla="*/ 898177 w 5015331"/>
                <a:gd name="connsiteY99" fmla="*/ 611026 h 1208152"/>
                <a:gd name="connsiteX100" fmla="*/ 898177 w 5015331"/>
                <a:gd name="connsiteY100" fmla="*/ 621226 h 1208152"/>
                <a:gd name="connsiteX101" fmla="*/ 909143 w 5015331"/>
                <a:gd name="connsiteY101" fmla="*/ 621226 h 1208152"/>
                <a:gd name="connsiteX102" fmla="*/ 909143 w 5015331"/>
                <a:gd name="connsiteY102" fmla="*/ 631810 h 1208152"/>
                <a:gd name="connsiteX103" fmla="*/ 920364 w 5015331"/>
                <a:gd name="connsiteY103" fmla="*/ 631810 h 1208152"/>
                <a:gd name="connsiteX104" fmla="*/ 920364 w 5015331"/>
                <a:gd name="connsiteY104" fmla="*/ 639715 h 1208152"/>
                <a:gd name="connsiteX105" fmla="*/ 941658 w 5015331"/>
                <a:gd name="connsiteY105" fmla="*/ 639715 h 1208152"/>
                <a:gd name="connsiteX106" fmla="*/ 941658 w 5015331"/>
                <a:gd name="connsiteY106" fmla="*/ 646728 h 1208152"/>
                <a:gd name="connsiteX107" fmla="*/ 962952 w 5015331"/>
                <a:gd name="connsiteY107" fmla="*/ 646728 h 1208152"/>
                <a:gd name="connsiteX108" fmla="*/ 962952 w 5015331"/>
                <a:gd name="connsiteY108" fmla="*/ 652976 h 1208152"/>
                <a:gd name="connsiteX109" fmla="*/ 974428 w 5015331"/>
                <a:gd name="connsiteY109" fmla="*/ 652976 h 1208152"/>
                <a:gd name="connsiteX110" fmla="*/ 974428 w 5015331"/>
                <a:gd name="connsiteY110" fmla="*/ 673123 h 1208152"/>
                <a:gd name="connsiteX111" fmla="*/ 988199 w 5015331"/>
                <a:gd name="connsiteY111" fmla="*/ 673123 h 1208152"/>
                <a:gd name="connsiteX112" fmla="*/ 988199 w 5015331"/>
                <a:gd name="connsiteY112" fmla="*/ 679243 h 1208152"/>
                <a:gd name="connsiteX113" fmla="*/ 1087274 w 5015331"/>
                <a:gd name="connsiteY113" fmla="*/ 679243 h 1208152"/>
                <a:gd name="connsiteX114" fmla="*/ 1087274 w 5015331"/>
                <a:gd name="connsiteY114" fmla="*/ 689444 h 1208152"/>
                <a:gd name="connsiteX115" fmla="*/ 1100790 w 5015331"/>
                <a:gd name="connsiteY115" fmla="*/ 689444 h 1208152"/>
                <a:gd name="connsiteX116" fmla="*/ 1100790 w 5015331"/>
                <a:gd name="connsiteY116" fmla="*/ 697987 h 1208152"/>
                <a:gd name="connsiteX117" fmla="*/ 1111118 w 5015331"/>
                <a:gd name="connsiteY117" fmla="*/ 697987 h 1208152"/>
                <a:gd name="connsiteX118" fmla="*/ 1111118 w 5015331"/>
                <a:gd name="connsiteY118" fmla="*/ 704108 h 1208152"/>
                <a:gd name="connsiteX119" fmla="*/ 1132922 w 5015331"/>
                <a:gd name="connsiteY119" fmla="*/ 704108 h 1208152"/>
                <a:gd name="connsiteX120" fmla="*/ 1132922 w 5015331"/>
                <a:gd name="connsiteY120" fmla="*/ 719281 h 1208152"/>
                <a:gd name="connsiteX121" fmla="*/ 1209428 w 5015331"/>
                <a:gd name="connsiteY121" fmla="*/ 719281 h 1208152"/>
                <a:gd name="connsiteX122" fmla="*/ 1209428 w 5015331"/>
                <a:gd name="connsiteY122" fmla="*/ 731012 h 1208152"/>
                <a:gd name="connsiteX123" fmla="*/ 1222434 w 5015331"/>
                <a:gd name="connsiteY123" fmla="*/ 731012 h 1208152"/>
                <a:gd name="connsiteX124" fmla="*/ 1222434 w 5015331"/>
                <a:gd name="connsiteY124" fmla="*/ 738790 h 1208152"/>
                <a:gd name="connsiteX125" fmla="*/ 1237990 w 5015331"/>
                <a:gd name="connsiteY125" fmla="*/ 738790 h 1208152"/>
                <a:gd name="connsiteX126" fmla="*/ 1237990 w 5015331"/>
                <a:gd name="connsiteY126" fmla="*/ 752179 h 1208152"/>
                <a:gd name="connsiteX127" fmla="*/ 1371365 w 5015331"/>
                <a:gd name="connsiteY127" fmla="*/ 752179 h 1208152"/>
                <a:gd name="connsiteX128" fmla="*/ 1371365 w 5015331"/>
                <a:gd name="connsiteY128" fmla="*/ 760849 h 1208152"/>
                <a:gd name="connsiteX129" fmla="*/ 1408088 w 5015331"/>
                <a:gd name="connsiteY129" fmla="*/ 760849 h 1208152"/>
                <a:gd name="connsiteX130" fmla="*/ 1408088 w 5015331"/>
                <a:gd name="connsiteY130" fmla="*/ 768117 h 1208152"/>
                <a:gd name="connsiteX131" fmla="*/ 1474520 w 5015331"/>
                <a:gd name="connsiteY131" fmla="*/ 768117 h 1208152"/>
                <a:gd name="connsiteX132" fmla="*/ 1474520 w 5015331"/>
                <a:gd name="connsiteY132" fmla="*/ 778956 h 1208152"/>
                <a:gd name="connsiteX133" fmla="*/ 1551026 w 5015331"/>
                <a:gd name="connsiteY133" fmla="*/ 778956 h 1208152"/>
                <a:gd name="connsiteX134" fmla="*/ 1551026 w 5015331"/>
                <a:gd name="connsiteY134" fmla="*/ 793874 h 1208152"/>
                <a:gd name="connsiteX135" fmla="*/ 1645128 w 5015331"/>
                <a:gd name="connsiteY135" fmla="*/ 793874 h 1208152"/>
                <a:gd name="connsiteX136" fmla="*/ 1645128 w 5015331"/>
                <a:gd name="connsiteY136" fmla="*/ 803692 h 1208152"/>
                <a:gd name="connsiteX137" fmla="*/ 1710030 w 5015331"/>
                <a:gd name="connsiteY137" fmla="*/ 803692 h 1208152"/>
                <a:gd name="connsiteX138" fmla="*/ 1710030 w 5015331"/>
                <a:gd name="connsiteY138" fmla="*/ 816953 h 1208152"/>
                <a:gd name="connsiteX139" fmla="*/ 1900147 w 5015331"/>
                <a:gd name="connsiteY139" fmla="*/ 816953 h 1208152"/>
                <a:gd name="connsiteX140" fmla="*/ 1900147 w 5015331"/>
                <a:gd name="connsiteY140" fmla="*/ 825879 h 1208152"/>
                <a:gd name="connsiteX141" fmla="*/ 2034414 w 5015331"/>
                <a:gd name="connsiteY141" fmla="*/ 825879 h 1208152"/>
                <a:gd name="connsiteX142" fmla="*/ 2034414 w 5015331"/>
                <a:gd name="connsiteY142" fmla="*/ 839013 h 1208152"/>
                <a:gd name="connsiteX143" fmla="*/ 2080573 w 5015331"/>
                <a:gd name="connsiteY143" fmla="*/ 839013 h 1208152"/>
                <a:gd name="connsiteX144" fmla="*/ 2080573 w 5015331"/>
                <a:gd name="connsiteY144" fmla="*/ 848193 h 1208152"/>
                <a:gd name="connsiteX145" fmla="*/ 2198647 w 5015331"/>
                <a:gd name="connsiteY145" fmla="*/ 848193 h 1208152"/>
                <a:gd name="connsiteX146" fmla="*/ 2198647 w 5015331"/>
                <a:gd name="connsiteY146" fmla="*/ 854441 h 1208152"/>
                <a:gd name="connsiteX147" fmla="*/ 2431989 w 5015331"/>
                <a:gd name="connsiteY147" fmla="*/ 854441 h 1208152"/>
                <a:gd name="connsiteX148" fmla="*/ 2431989 w 5015331"/>
                <a:gd name="connsiteY148" fmla="*/ 863367 h 1208152"/>
                <a:gd name="connsiteX149" fmla="*/ 2538332 w 5015331"/>
                <a:gd name="connsiteY149" fmla="*/ 863367 h 1208152"/>
                <a:gd name="connsiteX150" fmla="*/ 2538332 w 5015331"/>
                <a:gd name="connsiteY150" fmla="*/ 878923 h 1208152"/>
                <a:gd name="connsiteX151" fmla="*/ 2607315 w 5015331"/>
                <a:gd name="connsiteY151" fmla="*/ 878923 h 1208152"/>
                <a:gd name="connsiteX152" fmla="*/ 2607315 w 5015331"/>
                <a:gd name="connsiteY152" fmla="*/ 885044 h 1208152"/>
                <a:gd name="connsiteX153" fmla="*/ 2791949 w 5015331"/>
                <a:gd name="connsiteY153" fmla="*/ 885044 h 1208152"/>
                <a:gd name="connsiteX154" fmla="*/ 2791949 w 5015331"/>
                <a:gd name="connsiteY154" fmla="*/ 894734 h 1208152"/>
                <a:gd name="connsiteX155" fmla="*/ 2949040 w 5015331"/>
                <a:gd name="connsiteY155" fmla="*/ 894734 h 1208152"/>
                <a:gd name="connsiteX156" fmla="*/ 2949040 w 5015331"/>
                <a:gd name="connsiteY156" fmla="*/ 901747 h 1208152"/>
                <a:gd name="connsiteX157" fmla="*/ 3012285 w 5015331"/>
                <a:gd name="connsiteY157" fmla="*/ 901747 h 1208152"/>
                <a:gd name="connsiteX158" fmla="*/ 3012285 w 5015331"/>
                <a:gd name="connsiteY158" fmla="*/ 909398 h 1208152"/>
                <a:gd name="connsiteX159" fmla="*/ 3185060 w 5015331"/>
                <a:gd name="connsiteY159" fmla="*/ 909398 h 1208152"/>
                <a:gd name="connsiteX160" fmla="*/ 3185060 w 5015331"/>
                <a:gd name="connsiteY160" fmla="*/ 930819 h 1208152"/>
                <a:gd name="connsiteX161" fmla="*/ 3205462 w 5015331"/>
                <a:gd name="connsiteY161" fmla="*/ 930819 h 1208152"/>
                <a:gd name="connsiteX162" fmla="*/ 3205462 w 5015331"/>
                <a:gd name="connsiteY162" fmla="*/ 946248 h 1208152"/>
                <a:gd name="connsiteX163" fmla="*/ 3268452 w 5015331"/>
                <a:gd name="connsiteY163" fmla="*/ 946248 h 1208152"/>
                <a:gd name="connsiteX164" fmla="*/ 3268452 w 5015331"/>
                <a:gd name="connsiteY164" fmla="*/ 954154 h 1208152"/>
                <a:gd name="connsiteX165" fmla="*/ 3466219 w 5015331"/>
                <a:gd name="connsiteY165" fmla="*/ 954154 h 1208152"/>
                <a:gd name="connsiteX166" fmla="*/ 3466219 w 5015331"/>
                <a:gd name="connsiteY166" fmla="*/ 965885 h 1208152"/>
                <a:gd name="connsiteX167" fmla="*/ 3705682 w 5015331"/>
                <a:gd name="connsiteY167" fmla="*/ 965885 h 1208152"/>
                <a:gd name="connsiteX168" fmla="*/ 3705682 w 5015331"/>
                <a:gd name="connsiteY168" fmla="*/ 986414 h 1208152"/>
                <a:gd name="connsiteX169" fmla="*/ 4176192 w 5015331"/>
                <a:gd name="connsiteY169" fmla="*/ 986414 h 1208152"/>
                <a:gd name="connsiteX170" fmla="*/ 4176192 w 5015331"/>
                <a:gd name="connsiteY170" fmla="*/ 1007325 h 1208152"/>
                <a:gd name="connsiteX171" fmla="*/ 4799968 w 5015331"/>
                <a:gd name="connsiteY171" fmla="*/ 1007325 h 1208152"/>
                <a:gd name="connsiteX172" fmla="*/ 4799968 w 5015331"/>
                <a:gd name="connsiteY172" fmla="*/ 1208153 h 1208152"/>
                <a:gd name="connsiteX173" fmla="*/ 5015332 w 5015331"/>
                <a:gd name="connsiteY173" fmla="*/ 1208153 h 120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</a:cxnLst>
              <a:rect l="l" t="t" r="r" b="b"/>
              <a:pathLst>
                <a:path w="5015331" h="1208152">
                  <a:moveTo>
                    <a:pt x="0" y="0"/>
                  </a:moveTo>
                  <a:lnTo>
                    <a:pt x="5228" y="0"/>
                  </a:lnTo>
                  <a:lnTo>
                    <a:pt x="5228" y="14026"/>
                  </a:lnTo>
                  <a:lnTo>
                    <a:pt x="22059" y="14026"/>
                  </a:lnTo>
                  <a:lnTo>
                    <a:pt x="22059" y="21422"/>
                  </a:lnTo>
                  <a:lnTo>
                    <a:pt x="46158" y="21422"/>
                  </a:lnTo>
                  <a:lnTo>
                    <a:pt x="46158" y="46286"/>
                  </a:lnTo>
                  <a:lnTo>
                    <a:pt x="77398" y="46286"/>
                  </a:lnTo>
                  <a:lnTo>
                    <a:pt x="77398" y="74211"/>
                  </a:lnTo>
                  <a:lnTo>
                    <a:pt x="95760" y="74211"/>
                  </a:lnTo>
                  <a:lnTo>
                    <a:pt x="95760" y="95122"/>
                  </a:lnTo>
                  <a:lnTo>
                    <a:pt x="105578" y="95122"/>
                  </a:lnTo>
                  <a:lnTo>
                    <a:pt x="105578" y="104430"/>
                  </a:lnTo>
                  <a:lnTo>
                    <a:pt x="124832" y="104430"/>
                  </a:lnTo>
                  <a:lnTo>
                    <a:pt x="124832" y="115269"/>
                  </a:lnTo>
                  <a:lnTo>
                    <a:pt x="138985" y="115269"/>
                  </a:lnTo>
                  <a:lnTo>
                    <a:pt x="138985" y="132100"/>
                  </a:lnTo>
                  <a:lnTo>
                    <a:pt x="156327" y="132100"/>
                  </a:lnTo>
                  <a:lnTo>
                    <a:pt x="156327" y="139878"/>
                  </a:lnTo>
                  <a:lnTo>
                    <a:pt x="176856" y="139878"/>
                  </a:lnTo>
                  <a:lnTo>
                    <a:pt x="176856" y="151099"/>
                  </a:lnTo>
                  <a:lnTo>
                    <a:pt x="205673" y="151099"/>
                  </a:lnTo>
                  <a:lnTo>
                    <a:pt x="205673" y="163212"/>
                  </a:lnTo>
                  <a:lnTo>
                    <a:pt x="215109" y="163212"/>
                  </a:lnTo>
                  <a:lnTo>
                    <a:pt x="215109" y="194962"/>
                  </a:lnTo>
                  <a:lnTo>
                    <a:pt x="237168" y="194962"/>
                  </a:lnTo>
                  <a:lnTo>
                    <a:pt x="237168" y="204015"/>
                  </a:lnTo>
                  <a:lnTo>
                    <a:pt x="253999" y="204015"/>
                  </a:lnTo>
                  <a:lnTo>
                    <a:pt x="253999" y="217276"/>
                  </a:lnTo>
                  <a:lnTo>
                    <a:pt x="261777" y="217276"/>
                  </a:lnTo>
                  <a:lnTo>
                    <a:pt x="261777" y="231557"/>
                  </a:lnTo>
                  <a:lnTo>
                    <a:pt x="267515" y="231557"/>
                  </a:lnTo>
                  <a:lnTo>
                    <a:pt x="267515" y="250046"/>
                  </a:lnTo>
                  <a:lnTo>
                    <a:pt x="279756" y="250046"/>
                  </a:lnTo>
                  <a:lnTo>
                    <a:pt x="279756" y="258207"/>
                  </a:lnTo>
                  <a:lnTo>
                    <a:pt x="296842" y="258207"/>
                  </a:lnTo>
                  <a:lnTo>
                    <a:pt x="296842" y="263307"/>
                  </a:lnTo>
                  <a:lnTo>
                    <a:pt x="325659" y="263307"/>
                  </a:lnTo>
                  <a:lnTo>
                    <a:pt x="325659" y="278353"/>
                  </a:lnTo>
                  <a:lnTo>
                    <a:pt x="355879" y="278353"/>
                  </a:lnTo>
                  <a:lnTo>
                    <a:pt x="355879" y="287534"/>
                  </a:lnTo>
                  <a:lnTo>
                    <a:pt x="364550" y="287534"/>
                  </a:lnTo>
                  <a:lnTo>
                    <a:pt x="364550" y="296460"/>
                  </a:lnTo>
                  <a:lnTo>
                    <a:pt x="372965" y="296460"/>
                  </a:lnTo>
                  <a:lnTo>
                    <a:pt x="372965" y="302198"/>
                  </a:lnTo>
                  <a:lnTo>
                    <a:pt x="390434" y="302198"/>
                  </a:lnTo>
                  <a:lnTo>
                    <a:pt x="390434" y="326297"/>
                  </a:lnTo>
                  <a:lnTo>
                    <a:pt x="402675" y="326297"/>
                  </a:lnTo>
                  <a:lnTo>
                    <a:pt x="402675" y="348611"/>
                  </a:lnTo>
                  <a:lnTo>
                    <a:pt x="410581" y="348611"/>
                  </a:lnTo>
                  <a:lnTo>
                    <a:pt x="410581" y="362510"/>
                  </a:lnTo>
                  <a:lnTo>
                    <a:pt x="424352" y="362510"/>
                  </a:lnTo>
                  <a:lnTo>
                    <a:pt x="424352" y="368375"/>
                  </a:lnTo>
                  <a:lnTo>
                    <a:pt x="441693" y="368375"/>
                  </a:lnTo>
                  <a:lnTo>
                    <a:pt x="441693" y="392602"/>
                  </a:lnTo>
                  <a:lnTo>
                    <a:pt x="449216" y="392602"/>
                  </a:lnTo>
                  <a:lnTo>
                    <a:pt x="449216" y="403950"/>
                  </a:lnTo>
                  <a:lnTo>
                    <a:pt x="463115" y="403950"/>
                  </a:lnTo>
                  <a:lnTo>
                    <a:pt x="463115" y="411091"/>
                  </a:lnTo>
                  <a:lnTo>
                    <a:pt x="477651" y="411091"/>
                  </a:lnTo>
                  <a:lnTo>
                    <a:pt x="477651" y="417976"/>
                  </a:lnTo>
                  <a:lnTo>
                    <a:pt x="501112" y="417976"/>
                  </a:lnTo>
                  <a:lnTo>
                    <a:pt x="501112" y="431875"/>
                  </a:lnTo>
                  <a:lnTo>
                    <a:pt x="516924" y="431875"/>
                  </a:lnTo>
                  <a:lnTo>
                    <a:pt x="516924" y="444881"/>
                  </a:lnTo>
                  <a:lnTo>
                    <a:pt x="535285" y="444881"/>
                  </a:lnTo>
                  <a:lnTo>
                    <a:pt x="535285" y="454189"/>
                  </a:lnTo>
                  <a:lnTo>
                    <a:pt x="547526" y="454189"/>
                  </a:lnTo>
                  <a:lnTo>
                    <a:pt x="547526" y="464645"/>
                  </a:lnTo>
                  <a:lnTo>
                    <a:pt x="553901" y="464645"/>
                  </a:lnTo>
                  <a:lnTo>
                    <a:pt x="553901" y="480711"/>
                  </a:lnTo>
                  <a:lnTo>
                    <a:pt x="566142" y="480711"/>
                  </a:lnTo>
                  <a:lnTo>
                    <a:pt x="566142" y="488489"/>
                  </a:lnTo>
                  <a:lnTo>
                    <a:pt x="599167" y="488489"/>
                  </a:lnTo>
                  <a:lnTo>
                    <a:pt x="599167" y="493717"/>
                  </a:lnTo>
                  <a:lnTo>
                    <a:pt x="645708" y="493717"/>
                  </a:lnTo>
                  <a:lnTo>
                    <a:pt x="645708" y="500220"/>
                  </a:lnTo>
                  <a:lnTo>
                    <a:pt x="665855" y="500220"/>
                  </a:lnTo>
                  <a:lnTo>
                    <a:pt x="665855" y="510803"/>
                  </a:lnTo>
                  <a:lnTo>
                    <a:pt x="678223" y="510803"/>
                  </a:lnTo>
                  <a:lnTo>
                    <a:pt x="678223" y="522151"/>
                  </a:lnTo>
                  <a:lnTo>
                    <a:pt x="684089" y="522151"/>
                  </a:lnTo>
                  <a:lnTo>
                    <a:pt x="684089" y="540003"/>
                  </a:lnTo>
                  <a:lnTo>
                    <a:pt x="705638" y="540003"/>
                  </a:lnTo>
                  <a:lnTo>
                    <a:pt x="705638" y="545231"/>
                  </a:lnTo>
                  <a:lnTo>
                    <a:pt x="716093" y="545231"/>
                  </a:lnTo>
                  <a:lnTo>
                    <a:pt x="716093" y="550076"/>
                  </a:lnTo>
                  <a:lnTo>
                    <a:pt x="744273" y="550076"/>
                  </a:lnTo>
                  <a:lnTo>
                    <a:pt x="744273" y="561424"/>
                  </a:lnTo>
                  <a:lnTo>
                    <a:pt x="751924" y="561424"/>
                  </a:lnTo>
                  <a:lnTo>
                    <a:pt x="751924" y="570860"/>
                  </a:lnTo>
                  <a:lnTo>
                    <a:pt x="782526" y="570860"/>
                  </a:lnTo>
                  <a:lnTo>
                    <a:pt x="782526" y="576088"/>
                  </a:lnTo>
                  <a:lnTo>
                    <a:pt x="821544" y="576088"/>
                  </a:lnTo>
                  <a:lnTo>
                    <a:pt x="821544" y="590624"/>
                  </a:lnTo>
                  <a:lnTo>
                    <a:pt x="839140" y="590624"/>
                  </a:lnTo>
                  <a:lnTo>
                    <a:pt x="839140" y="600060"/>
                  </a:lnTo>
                  <a:lnTo>
                    <a:pt x="886956" y="600060"/>
                  </a:lnTo>
                  <a:lnTo>
                    <a:pt x="886956" y="611026"/>
                  </a:lnTo>
                  <a:lnTo>
                    <a:pt x="898177" y="611026"/>
                  </a:lnTo>
                  <a:lnTo>
                    <a:pt x="898177" y="621226"/>
                  </a:lnTo>
                  <a:lnTo>
                    <a:pt x="909143" y="621226"/>
                  </a:lnTo>
                  <a:lnTo>
                    <a:pt x="909143" y="631810"/>
                  </a:lnTo>
                  <a:lnTo>
                    <a:pt x="920364" y="631810"/>
                  </a:lnTo>
                  <a:lnTo>
                    <a:pt x="920364" y="639715"/>
                  </a:lnTo>
                  <a:lnTo>
                    <a:pt x="941658" y="639715"/>
                  </a:lnTo>
                  <a:lnTo>
                    <a:pt x="941658" y="646728"/>
                  </a:lnTo>
                  <a:lnTo>
                    <a:pt x="962952" y="646728"/>
                  </a:lnTo>
                  <a:lnTo>
                    <a:pt x="962952" y="652976"/>
                  </a:lnTo>
                  <a:lnTo>
                    <a:pt x="974428" y="652976"/>
                  </a:lnTo>
                  <a:lnTo>
                    <a:pt x="974428" y="673123"/>
                  </a:lnTo>
                  <a:lnTo>
                    <a:pt x="988199" y="673123"/>
                  </a:lnTo>
                  <a:lnTo>
                    <a:pt x="988199" y="679243"/>
                  </a:lnTo>
                  <a:lnTo>
                    <a:pt x="1087274" y="679243"/>
                  </a:lnTo>
                  <a:lnTo>
                    <a:pt x="1087274" y="689444"/>
                  </a:lnTo>
                  <a:lnTo>
                    <a:pt x="1100790" y="689444"/>
                  </a:lnTo>
                  <a:lnTo>
                    <a:pt x="1100790" y="697987"/>
                  </a:lnTo>
                  <a:lnTo>
                    <a:pt x="1111118" y="697987"/>
                  </a:lnTo>
                  <a:lnTo>
                    <a:pt x="1111118" y="704108"/>
                  </a:lnTo>
                  <a:lnTo>
                    <a:pt x="1132922" y="704108"/>
                  </a:lnTo>
                  <a:lnTo>
                    <a:pt x="1132922" y="719281"/>
                  </a:lnTo>
                  <a:lnTo>
                    <a:pt x="1209428" y="719281"/>
                  </a:lnTo>
                  <a:lnTo>
                    <a:pt x="1209428" y="731012"/>
                  </a:lnTo>
                  <a:lnTo>
                    <a:pt x="1222434" y="731012"/>
                  </a:lnTo>
                  <a:lnTo>
                    <a:pt x="1222434" y="738790"/>
                  </a:lnTo>
                  <a:lnTo>
                    <a:pt x="1237990" y="738790"/>
                  </a:lnTo>
                  <a:lnTo>
                    <a:pt x="1237990" y="752179"/>
                  </a:lnTo>
                  <a:lnTo>
                    <a:pt x="1371365" y="752179"/>
                  </a:lnTo>
                  <a:lnTo>
                    <a:pt x="1371365" y="760849"/>
                  </a:lnTo>
                  <a:lnTo>
                    <a:pt x="1408088" y="760849"/>
                  </a:lnTo>
                  <a:lnTo>
                    <a:pt x="1408088" y="768117"/>
                  </a:lnTo>
                  <a:lnTo>
                    <a:pt x="1474520" y="768117"/>
                  </a:lnTo>
                  <a:lnTo>
                    <a:pt x="1474520" y="778956"/>
                  </a:lnTo>
                  <a:lnTo>
                    <a:pt x="1551026" y="778956"/>
                  </a:lnTo>
                  <a:lnTo>
                    <a:pt x="1551026" y="793874"/>
                  </a:lnTo>
                  <a:lnTo>
                    <a:pt x="1645128" y="793874"/>
                  </a:lnTo>
                  <a:lnTo>
                    <a:pt x="1645128" y="803692"/>
                  </a:lnTo>
                  <a:lnTo>
                    <a:pt x="1710030" y="803692"/>
                  </a:lnTo>
                  <a:lnTo>
                    <a:pt x="1710030" y="816953"/>
                  </a:lnTo>
                  <a:lnTo>
                    <a:pt x="1900147" y="816953"/>
                  </a:lnTo>
                  <a:lnTo>
                    <a:pt x="1900147" y="825879"/>
                  </a:lnTo>
                  <a:lnTo>
                    <a:pt x="2034414" y="825879"/>
                  </a:lnTo>
                  <a:lnTo>
                    <a:pt x="2034414" y="839013"/>
                  </a:lnTo>
                  <a:lnTo>
                    <a:pt x="2080573" y="839013"/>
                  </a:lnTo>
                  <a:lnTo>
                    <a:pt x="2080573" y="848193"/>
                  </a:lnTo>
                  <a:lnTo>
                    <a:pt x="2198647" y="848193"/>
                  </a:lnTo>
                  <a:lnTo>
                    <a:pt x="2198647" y="854441"/>
                  </a:lnTo>
                  <a:lnTo>
                    <a:pt x="2431989" y="854441"/>
                  </a:lnTo>
                  <a:lnTo>
                    <a:pt x="2431989" y="863367"/>
                  </a:lnTo>
                  <a:lnTo>
                    <a:pt x="2538332" y="863367"/>
                  </a:lnTo>
                  <a:lnTo>
                    <a:pt x="2538332" y="878923"/>
                  </a:lnTo>
                  <a:lnTo>
                    <a:pt x="2607315" y="878923"/>
                  </a:lnTo>
                  <a:lnTo>
                    <a:pt x="2607315" y="885044"/>
                  </a:lnTo>
                  <a:lnTo>
                    <a:pt x="2791949" y="885044"/>
                  </a:lnTo>
                  <a:lnTo>
                    <a:pt x="2791949" y="894734"/>
                  </a:lnTo>
                  <a:lnTo>
                    <a:pt x="2949040" y="894734"/>
                  </a:lnTo>
                  <a:lnTo>
                    <a:pt x="2949040" y="901747"/>
                  </a:lnTo>
                  <a:lnTo>
                    <a:pt x="3012285" y="901747"/>
                  </a:lnTo>
                  <a:lnTo>
                    <a:pt x="3012285" y="909398"/>
                  </a:lnTo>
                  <a:lnTo>
                    <a:pt x="3185060" y="909398"/>
                  </a:lnTo>
                  <a:lnTo>
                    <a:pt x="3185060" y="930819"/>
                  </a:lnTo>
                  <a:lnTo>
                    <a:pt x="3205462" y="930819"/>
                  </a:lnTo>
                  <a:lnTo>
                    <a:pt x="3205462" y="946248"/>
                  </a:lnTo>
                  <a:lnTo>
                    <a:pt x="3268452" y="946248"/>
                  </a:lnTo>
                  <a:lnTo>
                    <a:pt x="3268452" y="954154"/>
                  </a:lnTo>
                  <a:lnTo>
                    <a:pt x="3466219" y="954154"/>
                  </a:lnTo>
                  <a:lnTo>
                    <a:pt x="3466219" y="965885"/>
                  </a:lnTo>
                  <a:lnTo>
                    <a:pt x="3705682" y="965885"/>
                  </a:lnTo>
                  <a:lnTo>
                    <a:pt x="3705682" y="986414"/>
                  </a:lnTo>
                  <a:lnTo>
                    <a:pt x="4176192" y="986414"/>
                  </a:lnTo>
                  <a:lnTo>
                    <a:pt x="4176192" y="1007325"/>
                  </a:lnTo>
                  <a:lnTo>
                    <a:pt x="4799968" y="1007325"/>
                  </a:lnTo>
                  <a:lnTo>
                    <a:pt x="4799968" y="1208153"/>
                  </a:lnTo>
                  <a:lnTo>
                    <a:pt x="5015332" y="1208153"/>
                  </a:ln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6" name="Grafik 89">
              <a:extLst>
                <a:ext uri="{FF2B5EF4-FFF2-40B4-BE49-F238E27FC236}">
                  <a16:creationId xmlns:a16="http://schemas.microsoft.com/office/drawing/2014/main" id="{6E892397-3626-078B-48F2-957ABBE7CCA6}"/>
                </a:ext>
              </a:extLst>
            </p:cNvPr>
            <p:cNvGrpSpPr/>
            <p:nvPr/>
          </p:nvGrpSpPr>
          <p:grpSpPr>
            <a:xfrm>
              <a:off x="7092573" y="2360345"/>
              <a:ext cx="47561" cy="44118"/>
              <a:chOff x="7092573" y="2360345"/>
              <a:chExt cx="47561" cy="44118"/>
            </a:xfrm>
          </p:grpSpPr>
          <p:sp>
            <p:nvSpPr>
              <p:cNvPr id="290" name="Freihandform: Form 289">
                <a:extLst>
                  <a:ext uri="{FF2B5EF4-FFF2-40B4-BE49-F238E27FC236}">
                    <a16:creationId xmlns:a16="http://schemas.microsoft.com/office/drawing/2014/main" id="{745927C8-938C-068A-1838-CC47CFC26256}"/>
                  </a:ext>
                </a:extLst>
              </p:cNvPr>
              <p:cNvSpPr/>
              <p:nvPr/>
            </p:nvSpPr>
            <p:spPr>
              <a:xfrm>
                <a:off x="7116290" y="2360345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1" name="Freihandform: Form 290">
                <a:extLst>
                  <a:ext uri="{FF2B5EF4-FFF2-40B4-BE49-F238E27FC236}">
                    <a16:creationId xmlns:a16="http://schemas.microsoft.com/office/drawing/2014/main" id="{F288A99B-FE14-9126-39DD-04CB6587C446}"/>
                  </a:ext>
                </a:extLst>
              </p:cNvPr>
              <p:cNvSpPr/>
              <p:nvPr/>
            </p:nvSpPr>
            <p:spPr>
              <a:xfrm>
                <a:off x="7092573" y="2382404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7" name="Grafik 89">
              <a:extLst>
                <a:ext uri="{FF2B5EF4-FFF2-40B4-BE49-F238E27FC236}">
                  <a16:creationId xmlns:a16="http://schemas.microsoft.com/office/drawing/2014/main" id="{132E4DC9-3435-6F73-D984-27024C7CB1C1}"/>
                </a:ext>
              </a:extLst>
            </p:cNvPr>
            <p:cNvGrpSpPr/>
            <p:nvPr/>
          </p:nvGrpSpPr>
          <p:grpSpPr>
            <a:xfrm>
              <a:off x="6976412" y="2360345"/>
              <a:ext cx="47561" cy="44118"/>
              <a:chOff x="6976412" y="2360345"/>
              <a:chExt cx="47561" cy="44118"/>
            </a:xfrm>
          </p:grpSpPr>
          <p:sp>
            <p:nvSpPr>
              <p:cNvPr id="288" name="Freihandform: Form 287">
                <a:extLst>
                  <a:ext uri="{FF2B5EF4-FFF2-40B4-BE49-F238E27FC236}">
                    <a16:creationId xmlns:a16="http://schemas.microsoft.com/office/drawing/2014/main" id="{9712736D-9675-B5B2-2D37-7CC8677FB53E}"/>
                  </a:ext>
                </a:extLst>
              </p:cNvPr>
              <p:cNvSpPr/>
              <p:nvPr/>
            </p:nvSpPr>
            <p:spPr>
              <a:xfrm>
                <a:off x="7000256" y="2360345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9" name="Freihandform: Form 288">
                <a:extLst>
                  <a:ext uri="{FF2B5EF4-FFF2-40B4-BE49-F238E27FC236}">
                    <a16:creationId xmlns:a16="http://schemas.microsoft.com/office/drawing/2014/main" id="{ECDFB76E-7484-8ABB-5E8B-83C92A7518BD}"/>
                  </a:ext>
                </a:extLst>
              </p:cNvPr>
              <p:cNvSpPr/>
              <p:nvPr/>
            </p:nvSpPr>
            <p:spPr>
              <a:xfrm>
                <a:off x="6976412" y="2382404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8" name="Grafik 89">
              <a:extLst>
                <a:ext uri="{FF2B5EF4-FFF2-40B4-BE49-F238E27FC236}">
                  <a16:creationId xmlns:a16="http://schemas.microsoft.com/office/drawing/2014/main" id="{0F2A4B9D-9356-E2F5-B5A0-A4094D4BD9CA}"/>
                </a:ext>
              </a:extLst>
            </p:cNvPr>
            <p:cNvGrpSpPr/>
            <p:nvPr/>
          </p:nvGrpSpPr>
          <p:grpSpPr>
            <a:xfrm>
              <a:off x="6940199" y="2360345"/>
              <a:ext cx="47561" cy="44118"/>
              <a:chOff x="6940199" y="2360345"/>
              <a:chExt cx="47561" cy="44118"/>
            </a:xfrm>
          </p:grpSpPr>
          <p:sp>
            <p:nvSpPr>
              <p:cNvPr id="286" name="Freihandform: Form 285">
                <a:extLst>
                  <a:ext uri="{FF2B5EF4-FFF2-40B4-BE49-F238E27FC236}">
                    <a16:creationId xmlns:a16="http://schemas.microsoft.com/office/drawing/2014/main" id="{359A154A-1839-BF35-EAA8-1BE4D5A8D154}"/>
                  </a:ext>
                </a:extLst>
              </p:cNvPr>
              <p:cNvSpPr/>
              <p:nvPr/>
            </p:nvSpPr>
            <p:spPr>
              <a:xfrm>
                <a:off x="6963916" y="2360345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7" name="Freihandform: Form 286">
                <a:extLst>
                  <a:ext uri="{FF2B5EF4-FFF2-40B4-BE49-F238E27FC236}">
                    <a16:creationId xmlns:a16="http://schemas.microsoft.com/office/drawing/2014/main" id="{92400ADB-556F-5BE6-7C8A-18181F503CBA}"/>
                  </a:ext>
                </a:extLst>
              </p:cNvPr>
              <p:cNvSpPr/>
              <p:nvPr/>
            </p:nvSpPr>
            <p:spPr>
              <a:xfrm>
                <a:off x="6940199" y="2382404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9" name="Grafik 89">
              <a:extLst>
                <a:ext uri="{FF2B5EF4-FFF2-40B4-BE49-F238E27FC236}">
                  <a16:creationId xmlns:a16="http://schemas.microsoft.com/office/drawing/2014/main" id="{4240FACA-EED3-31F4-B1B3-7B36BF1C226B}"/>
                </a:ext>
              </a:extLst>
            </p:cNvPr>
            <p:cNvGrpSpPr/>
            <p:nvPr/>
          </p:nvGrpSpPr>
          <p:grpSpPr>
            <a:xfrm>
              <a:off x="6899396" y="2158370"/>
              <a:ext cx="47561" cy="44118"/>
              <a:chOff x="6899396" y="2158370"/>
              <a:chExt cx="47561" cy="44118"/>
            </a:xfrm>
          </p:grpSpPr>
          <p:sp>
            <p:nvSpPr>
              <p:cNvPr id="284" name="Freihandform: Form 283">
                <a:extLst>
                  <a:ext uri="{FF2B5EF4-FFF2-40B4-BE49-F238E27FC236}">
                    <a16:creationId xmlns:a16="http://schemas.microsoft.com/office/drawing/2014/main" id="{97BC5FCB-3DBE-66CC-6A37-FB7C8C1718FC}"/>
                  </a:ext>
                </a:extLst>
              </p:cNvPr>
              <p:cNvSpPr/>
              <p:nvPr/>
            </p:nvSpPr>
            <p:spPr>
              <a:xfrm>
                <a:off x="6923113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Freihandform: Form 284">
                <a:extLst>
                  <a:ext uri="{FF2B5EF4-FFF2-40B4-BE49-F238E27FC236}">
                    <a16:creationId xmlns:a16="http://schemas.microsoft.com/office/drawing/2014/main" id="{605148BF-BDE3-4444-FD3E-C605443CF96C}"/>
                  </a:ext>
                </a:extLst>
              </p:cNvPr>
              <p:cNvSpPr/>
              <p:nvPr/>
            </p:nvSpPr>
            <p:spPr>
              <a:xfrm>
                <a:off x="6899396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0" name="Grafik 89">
              <a:extLst>
                <a:ext uri="{FF2B5EF4-FFF2-40B4-BE49-F238E27FC236}">
                  <a16:creationId xmlns:a16="http://schemas.microsoft.com/office/drawing/2014/main" id="{1A7D4F2C-A92C-4291-FA86-B026E8F72116}"/>
                </a:ext>
              </a:extLst>
            </p:cNvPr>
            <p:cNvGrpSpPr/>
            <p:nvPr/>
          </p:nvGrpSpPr>
          <p:grpSpPr>
            <a:xfrm>
              <a:off x="6879377" y="2158370"/>
              <a:ext cx="47433" cy="44118"/>
              <a:chOff x="6879377" y="2158370"/>
              <a:chExt cx="47433" cy="44118"/>
            </a:xfrm>
          </p:grpSpPr>
          <p:sp>
            <p:nvSpPr>
              <p:cNvPr id="282" name="Freihandform: Form 281">
                <a:extLst>
                  <a:ext uri="{FF2B5EF4-FFF2-40B4-BE49-F238E27FC236}">
                    <a16:creationId xmlns:a16="http://schemas.microsoft.com/office/drawing/2014/main" id="{59B63712-B470-B28B-3577-F955AE1919E7}"/>
                  </a:ext>
                </a:extLst>
              </p:cNvPr>
              <p:cNvSpPr/>
              <p:nvPr/>
            </p:nvSpPr>
            <p:spPr>
              <a:xfrm>
                <a:off x="6903094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3" name="Freihandform: Form 282">
                <a:extLst>
                  <a:ext uri="{FF2B5EF4-FFF2-40B4-BE49-F238E27FC236}">
                    <a16:creationId xmlns:a16="http://schemas.microsoft.com/office/drawing/2014/main" id="{C69A4781-5A2B-1BE2-639A-9ABD25C3F9F2}"/>
                  </a:ext>
                </a:extLst>
              </p:cNvPr>
              <p:cNvSpPr/>
              <p:nvPr/>
            </p:nvSpPr>
            <p:spPr>
              <a:xfrm>
                <a:off x="6879377" y="2180429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" name="Grafik 89">
              <a:extLst>
                <a:ext uri="{FF2B5EF4-FFF2-40B4-BE49-F238E27FC236}">
                  <a16:creationId xmlns:a16="http://schemas.microsoft.com/office/drawing/2014/main" id="{F1F5C764-BC0A-D26B-5AB6-0866ACF76FE1}"/>
                </a:ext>
              </a:extLst>
            </p:cNvPr>
            <p:cNvGrpSpPr/>
            <p:nvPr/>
          </p:nvGrpSpPr>
          <p:grpSpPr>
            <a:xfrm>
              <a:off x="6866244" y="2158370"/>
              <a:ext cx="47561" cy="44118"/>
              <a:chOff x="6866244" y="2158370"/>
              <a:chExt cx="47561" cy="44118"/>
            </a:xfrm>
          </p:grpSpPr>
          <p:sp>
            <p:nvSpPr>
              <p:cNvPr id="280" name="Freihandform: Form 279">
                <a:extLst>
                  <a:ext uri="{FF2B5EF4-FFF2-40B4-BE49-F238E27FC236}">
                    <a16:creationId xmlns:a16="http://schemas.microsoft.com/office/drawing/2014/main" id="{C96A6737-A081-2702-25B3-475EDE080BC5}"/>
                  </a:ext>
                </a:extLst>
              </p:cNvPr>
              <p:cNvSpPr/>
              <p:nvPr/>
            </p:nvSpPr>
            <p:spPr>
              <a:xfrm>
                <a:off x="6890088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1" name="Freihandform: Form 280">
                <a:extLst>
                  <a:ext uri="{FF2B5EF4-FFF2-40B4-BE49-F238E27FC236}">
                    <a16:creationId xmlns:a16="http://schemas.microsoft.com/office/drawing/2014/main" id="{ED577005-B3C3-917A-8766-87B9B0AB45C1}"/>
                  </a:ext>
                </a:extLst>
              </p:cNvPr>
              <p:cNvSpPr/>
              <p:nvPr/>
            </p:nvSpPr>
            <p:spPr>
              <a:xfrm>
                <a:off x="6866244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" name="Grafik 89">
              <a:extLst>
                <a:ext uri="{FF2B5EF4-FFF2-40B4-BE49-F238E27FC236}">
                  <a16:creationId xmlns:a16="http://schemas.microsoft.com/office/drawing/2014/main" id="{7F319785-018E-0A16-FADD-1B5CD17F8508}"/>
                </a:ext>
              </a:extLst>
            </p:cNvPr>
            <p:cNvGrpSpPr/>
            <p:nvPr/>
          </p:nvGrpSpPr>
          <p:grpSpPr>
            <a:xfrm>
              <a:off x="6856935" y="2158370"/>
              <a:ext cx="47561" cy="44118"/>
              <a:chOff x="6856935" y="2158370"/>
              <a:chExt cx="47561" cy="44118"/>
            </a:xfrm>
          </p:grpSpPr>
          <p:sp>
            <p:nvSpPr>
              <p:cNvPr id="278" name="Freihandform: Form 277">
                <a:extLst>
                  <a:ext uri="{FF2B5EF4-FFF2-40B4-BE49-F238E27FC236}">
                    <a16:creationId xmlns:a16="http://schemas.microsoft.com/office/drawing/2014/main" id="{F2353189-462B-4B19-A851-1519D0F5EB0A}"/>
                  </a:ext>
                </a:extLst>
              </p:cNvPr>
              <p:cNvSpPr/>
              <p:nvPr/>
            </p:nvSpPr>
            <p:spPr>
              <a:xfrm>
                <a:off x="6880780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9" name="Freihandform: Form 278">
                <a:extLst>
                  <a:ext uri="{FF2B5EF4-FFF2-40B4-BE49-F238E27FC236}">
                    <a16:creationId xmlns:a16="http://schemas.microsoft.com/office/drawing/2014/main" id="{29295222-62A9-D8C5-5EFE-7FE8193788EF}"/>
                  </a:ext>
                </a:extLst>
              </p:cNvPr>
              <p:cNvSpPr/>
              <p:nvPr/>
            </p:nvSpPr>
            <p:spPr>
              <a:xfrm>
                <a:off x="6856935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3" name="Grafik 89">
              <a:extLst>
                <a:ext uri="{FF2B5EF4-FFF2-40B4-BE49-F238E27FC236}">
                  <a16:creationId xmlns:a16="http://schemas.microsoft.com/office/drawing/2014/main" id="{124E7E18-5F90-0F1A-7083-E07002C59F51}"/>
                </a:ext>
              </a:extLst>
            </p:cNvPr>
            <p:cNvGrpSpPr/>
            <p:nvPr/>
          </p:nvGrpSpPr>
          <p:grpSpPr>
            <a:xfrm>
              <a:off x="6815240" y="2158370"/>
              <a:ext cx="47433" cy="44118"/>
              <a:chOff x="6815240" y="2158370"/>
              <a:chExt cx="47433" cy="44118"/>
            </a:xfrm>
          </p:grpSpPr>
          <p:sp>
            <p:nvSpPr>
              <p:cNvPr id="276" name="Freihandform: Form 275">
                <a:extLst>
                  <a:ext uri="{FF2B5EF4-FFF2-40B4-BE49-F238E27FC236}">
                    <a16:creationId xmlns:a16="http://schemas.microsoft.com/office/drawing/2014/main" id="{E63EA987-E457-C732-347C-3B1DFD78B431}"/>
                  </a:ext>
                </a:extLst>
              </p:cNvPr>
              <p:cNvSpPr/>
              <p:nvPr/>
            </p:nvSpPr>
            <p:spPr>
              <a:xfrm>
                <a:off x="6838957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7" name="Freihandform: Form 276">
                <a:extLst>
                  <a:ext uri="{FF2B5EF4-FFF2-40B4-BE49-F238E27FC236}">
                    <a16:creationId xmlns:a16="http://schemas.microsoft.com/office/drawing/2014/main" id="{9C66699A-6263-00D2-FD7B-6E59BBB8AB30}"/>
                  </a:ext>
                </a:extLst>
              </p:cNvPr>
              <p:cNvSpPr/>
              <p:nvPr/>
            </p:nvSpPr>
            <p:spPr>
              <a:xfrm>
                <a:off x="6815240" y="2180429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" name="Grafik 89">
              <a:extLst>
                <a:ext uri="{FF2B5EF4-FFF2-40B4-BE49-F238E27FC236}">
                  <a16:creationId xmlns:a16="http://schemas.microsoft.com/office/drawing/2014/main" id="{9F21DB54-55A7-1AA5-7885-2702ABA073DC}"/>
                </a:ext>
              </a:extLst>
            </p:cNvPr>
            <p:cNvGrpSpPr/>
            <p:nvPr/>
          </p:nvGrpSpPr>
          <p:grpSpPr>
            <a:xfrm>
              <a:off x="6805804" y="2158370"/>
              <a:ext cx="47561" cy="44118"/>
              <a:chOff x="6805804" y="2158370"/>
              <a:chExt cx="47561" cy="44118"/>
            </a:xfrm>
          </p:grpSpPr>
          <p:sp>
            <p:nvSpPr>
              <p:cNvPr id="274" name="Freihandform: Form 273">
                <a:extLst>
                  <a:ext uri="{FF2B5EF4-FFF2-40B4-BE49-F238E27FC236}">
                    <a16:creationId xmlns:a16="http://schemas.microsoft.com/office/drawing/2014/main" id="{F40E447D-F7E8-856C-1DD3-B8F13C7C4C45}"/>
                  </a:ext>
                </a:extLst>
              </p:cNvPr>
              <p:cNvSpPr/>
              <p:nvPr/>
            </p:nvSpPr>
            <p:spPr>
              <a:xfrm>
                <a:off x="6829648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5" name="Freihandform: Form 274">
                <a:extLst>
                  <a:ext uri="{FF2B5EF4-FFF2-40B4-BE49-F238E27FC236}">
                    <a16:creationId xmlns:a16="http://schemas.microsoft.com/office/drawing/2014/main" id="{051C54A1-C281-1C05-EFF3-EAE0A75789AE}"/>
                  </a:ext>
                </a:extLst>
              </p:cNvPr>
              <p:cNvSpPr/>
              <p:nvPr/>
            </p:nvSpPr>
            <p:spPr>
              <a:xfrm>
                <a:off x="6805804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5" name="Grafik 89">
              <a:extLst>
                <a:ext uri="{FF2B5EF4-FFF2-40B4-BE49-F238E27FC236}">
                  <a16:creationId xmlns:a16="http://schemas.microsoft.com/office/drawing/2014/main" id="{3E2167BA-10F5-57D7-A481-B9CF73D0E810}"/>
                </a:ext>
              </a:extLst>
            </p:cNvPr>
            <p:cNvGrpSpPr/>
            <p:nvPr/>
          </p:nvGrpSpPr>
          <p:grpSpPr>
            <a:xfrm>
              <a:off x="6795348" y="2158370"/>
              <a:ext cx="47561" cy="44118"/>
              <a:chOff x="6795348" y="2158370"/>
              <a:chExt cx="47561" cy="44118"/>
            </a:xfrm>
          </p:grpSpPr>
          <p:sp>
            <p:nvSpPr>
              <p:cNvPr id="272" name="Freihandform: Form 271">
                <a:extLst>
                  <a:ext uri="{FF2B5EF4-FFF2-40B4-BE49-F238E27FC236}">
                    <a16:creationId xmlns:a16="http://schemas.microsoft.com/office/drawing/2014/main" id="{E321C431-6027-FAB0-6762-7690A6F330A2}"/>
                  </a:ext>
                </a:extLst>
              </p:cNvPr>
              <p:cNvSpPr/>
              <p:nvPr/>
            </p:nvSpPr>
            <p:spPr>
              <a:xfrm>
                <a:off x="6819065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3" name="Freihandform: Form 272">
                <a:extLst>
                  <a:ext uri="{FF2B5EF4-FFF2-40B4-BE49-F238E27FC236}">
                    <a16:creationId xmlns:a16="http://schemas.microsoft.com/office/drawing/2014/main" id="{6FBD79B3-5F30-6A0E-9B63-F8DCFCF940EC}"/>
                  </a:ext>
                </a:extLst>
              </p:cNvPr>
              <p:cNvSpPr/>
              <p:nvPr/>
            </p:nvSpPr>
            <p:spPr>
              <a:xfrm>
                <a:off x="6795348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6" name="Grafik 89">
              <a:extLst>
                <a:ext uri="{FF2B5EF4-FFF2-40B4-BE49-F238E27FC236}">
                  <a16:creationId xmlns:a16="http://schemas.microsoft.com/office/drawing/2014/main" id="{44BDCBD2-A443-0D4B-48F8-1656EA293E77}"/>
                </a:ext>
              </a:extLst>
            </p:cNvPr>
            <p:cNvGrpSpPr/>
            <p:nvPr/>
          </p:nvGrpSpPr>
          <p:grpSpPr>
            <a:xfrm>
              <a:off x="6729171" y="2158370"/>
              <a:ext cx="47561" cy="44118"/>
              <a:chOff x="6729171" y="2158370"/>
              <a:chExt cx="47561" cy="44118"/>
            </a:xfrm>
          </p:grpSpPr>
          <p:sp>
            <p:nvSpPr>
              <p:cNvPr id="270" name="Freihandform: Form 269">
                <a:extLst>
                  <a:ext uri="{FF2B5EF4-FFF2-40B4-BE49-F238E27FC236}">
                    <a16:creationId xmlns:a16="http://schemas.microsoft.com/office/drawing/2014/main" id="{A8AA95A9-D23A-9536-681F-6C4F50DDCA40}"/>
                  </a:ext>
                </a:extLst>
              </p:cNvPr>
              <p:cNvSpPr/>
              <p:nvPr/>
            </p:nvSpPr>
            <p:spPr>
              <a:xfrm>
                <a:off x="6752888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1" name="Freihandform: Form 270">
                <a:extLst>
                  <a:ext uri="{FF2B5EF4-FFF2-40B4-BE49-F238E27FC236}">
                    <a16:creationId xmlns:a16="http://schemas.microsoft.com/office/drawing/2014/main" id="{F2D02A3F-768B-53EC-2B07-78C7F6DFFE93}"/>
                  </a:ext>
                </a:extLst>
              </p:cNvPr>
              <p:cNvSpPr/>
              <p:nvPr/>
            </p:nvSpPr>
            <p:spPr>
              <a:xfrm>
                <a:off x="6729171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" name="Grafik 89">
              <a:extLst>
                <a:ext uri="{FF2B5EF4-FFF2-40B4-BE49-F238E27FC236}">
                  <a16:creationId xmlns:a16="http://schemas.microsoft.com/office/drawing/2014/main" id="{522B18C2-FE50-CD85-3D33-46A76BC0C018}"/>
                </a:ext>
              </a:extLst>
            </p:cNvPr>
            <p:cNvGrpSpPr/>
            <p:nvPr/>
          </p:nvGrpSpPr>
          <p:grpSpPr>
            <a:xfrm>
              <a:off x="6698441" y="2158370"/>
              <a:ext cx="47561" cy="44118"/>
              <a:chOff x="6698441" y="2158370"/>
              <a:chExt cx="47561" cy="44118"/>
            </a:xfrm>
          </p:grpSpPr>
          <p:sp>
            <p:nvSpPr>
              <p:cNvPr id="268" name="Freihandform: Form 267">
                <a:extLst>
                  <a:ext uri="{FF2B5EF4-FFF2-40B4-BE49-F238E27FC236}">
                    <a16:creationId xmlns:a16="http://schemas.microsoft.com/office/drawing/2014/main" id="{E5257735-F3B1-4D48-7A87-713AC1EC9533}"/>
                  </a:ext>
                </a:extLst>
              </p:cNvPr>
              <p:cNvSpPr/>
              <p:nvPr/>
            </p:nvSpPr>
            <p:spPr>
              <a:xfrm>
                <a:off x="6722158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9" name="Freihandform: Form 268">
                <a:extLst>
                  <a:ext uri="{FF2B5EF4-FFF2-40B4-BE49-F238E27FC236}">
                    <a16:creationId xmlns:a16="http://schemas.microsoft.com/office/drawing/2014/main" id="{F4A7F27B-A9C0-2EDE-6526-9C61BB9CF063}"/>
                  </a:ext>
                </a:extLst>
              </p:cNvPr>
              <p:cNvSpPr/>
              <p:nvPr/>
            </p:nvSpPr>
            <p:spPr>
              <a:xfrm>
                <a:off x="6698441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8" name="Grafik 89">
              <a:extLst>
                <a:ext uri="{FF2B5EF4-FFF2-40B4-BE49-F238E27FC236}">
                  <a16:creationId xmlns:a16="http://schemas.microsoft.com/office/drawing/2014/main" id="{ED6E7D34-9D46-6744-990C-0C373EB4DFBC}"/>
                </a:ext>
              </a:extLst>
            </p:cNvPr>
            <p:cNvGrpSpPr/>
            <p:nvPr/>
          </p:nvGrpSpPr>
          <p:grpSpPr>
            <a:xfrm>
              <a:off x="6639787" y="2158370"/>
              <a:ext cx="47561" cy="44118"/>
              <a:chOff x="6639787" y="2158370"/>
              <a:chExt cx="47561" cy="44118"/>
            </a:xfrm>
          </p:grpSpPr>
          <p:sp>
            <p:nvSpPr>
              <p:cNvPr id="266" name="Freihandform: Form 265">
                <a:extLst>
                  <a:ext uri="{FF2B5EF4-FFF2-40B4-BE49-F238E27FC236}">
                    <a16:creationId xmlns:a16="http://schemas.microsoft.com/office/drawing/2014/main" id="{DF3F1A2F-3F86-17F4-6091-92EAF1CE136D}"/>
                  </a:ext>
                </a:extLst>
              </p:cNvPr>
              <p:cNvSpPr/>
              <p:nvPr/>
            </p:nvSpPr>
            <p:spPr>
              <a:xfrm>
                <a:off x="6663631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7" name="Freihandform: Form 266">
                <a:extLst>
                  <a:ext uri="{FF2B5EF4-FFF2-40B4-BE49-F238E27FC236}">
                    <a16:creationId xmlns:a16="http://schemas.microsoft.com/office/drawing/2014/main" id="{E85827BA-507B-3B78-0EB7-1F0C7D422107}"/>
                  </a:ext>
                </a:extLst>
              </p:cNvPr>
              <p:cNvSpPr/>
              <p:nvPr/>
            </p:nvSpPr>
            <p:spPr>
              <a:xfrm>
                <a:off x="6639787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" name="Grafik 89">
              <a:extLst>
                <a:ext uri="{FF2B5EF4-FFF2-40B4-BE49-F238E27FC236}">
                  <a16:creationId xmlns:a16="http://schemas.microsoft.com/office/drawing/2014/main" id="{63CA5D17-904D-4B68-AB46-B909B7FD384B}"/>
                </a:ext>
              </a:extLst>
            </p:cNvPr>
            <p:cNvGrpSpPr/>
            <p:nvPr/>
          </p:nvGrpSpPr>
          <p:grpSpPr>
            <a:xfrm>
              <a:off x="6609694" y="2158370"/>
              <a:ext cx="47561" cy="44118"/>
              <a:chOff x="6609694" y="2158370"/>
              <a:chExt cx="47561" cy="44118"/>
            </a:xfrm>
          </p:grpSpPr>
          <p:sp>
            <p:nvSpPr>
              <p:cNvPr id="264" name="Freihandform: Form 263">
                <a:extLst>
                  <a:ext uri="{FF2B5EF4-FFF2-40B4-BE49-F238E27FC236}">
                    <a16:creationId xmlns:a16="http://schemas.microsoft.com/office/drawing/2014/main" id="{C80077FA-3E62-7B50-76DE-B691B21E2079}"/>
                  </a:ext>
                </a:extLst>
              </p:cNvPr>
              <p:cNvSpPr/>
              <p:nvPr/>
            </p:nvSpPr>
            <p:spPr>
              <a:xfrm>
                <a:off x="6633539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Freihandform: Form 264">
                <a:extLst>
                  <a:ext uri="{FF2B5EF4-FFF2-40B4-BE49-F238E27FC236}">
                    <a16:creationId xmlns:a16="http://schemas.microsoft.com/office/drawing/2014/main" id="{062BDD3E-608A-BB73-C397-44AD57D463DE}"/>
                  </a:ext>
                </a:extLst>
              </p:cNvPr>
              <p:cNvSpPr/>
              <p:nvPr/>
            </p:nvSpPr>
            <p:spPr>
              <a:xfrm>
                <a:off x="6609694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89">
              <a:extLst>
                <a:ext uri="{FF2B5EF4-FFF2-40B4-BE49-F238E27FC236}">
                  <a16:creationId xmlns:a16="http://schemas.microsoft.com/office/drawing/2014/main" id="{8A50F2B9-0CC1-9C9A-9187-95B599CEF9F8}"/>
                </a:ext>
              </a:extLst>
            </p:cNvPr>
            <p:cNvGrpSpPr/>
            <p:nvPr/>
          </p:nvGrpSpPr>
          <p:grpSpPr>
            <a:xfrm>
              <a:off x="6583683" y="2158370"/>
              <a:ext cx="47561" cy="44118"/>
              <a:chOff x="6583683" y="2158370"/>
              <a:chExt cx="47561" cy="44118"/>
            </a:xfrm>
          </p:grpSpPr>
          <p:sp>
            <p:nvSpPr>
              <p:cNvPr id="262" name="Freihandform: Form 261">
                <a:extLst>
                  <a:ext uri="{FF2B5EF4-FFF2-40B4-BE49-F238E27FC236}">
                    <a16:creationId xmlns:a16="http://schemas.microsoft.com/office/drawing/2014/main" id="{B0F2C2F3-EDAF-81C0-CEBC-BAEA380E1373}"/>
                  </a:ext>
                </a:extLst>
              </p:cNvPr>
              <p:cNvSpPr/>
              <p:nvPr/>
            </p:nvSpPr>
            <p:spPr>
              <a:xfrm>
                <a:off x="6607399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Freihandform: Form 262">
                <a:extLst>
                  <a:ext uri="{FF2B5EF4-FFF2-40B4-BE49-F238E27FC236}">
                    <a16:creationId xmlns:a16="http://schemas.microsoft.com/office/drawing/2014/main" id="{149CB6C7-D061-82F2-4117-AA9026418937}"/>
                  </a:ext>
                </a:extLst>
              </p:cNvPr>
              <p:cNvSpPr/>
              <p:nvPr/>
            </p:nvSpPr>
            <p:spPr>
              <a:xfrm>
                <a:off x="6583683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" name="Grafik 89">
              <a:extLst>
                <a:ext uri="{FF2B5EF4-FFF2-40B4-BE49-F238E27FC236}">
                  <a16:creationId xmlns:a16="http://schemas.microsoft.com/office/drawing/2014/main" id="{A3DE514B-8819-E18A-EB99-EAEDA3F571E5}"/>
                </a:ext>
              </a:extLst>
            </p:cNvPr>
            <p:cNvGrpSpPr/>
            <p:nvPr/>
          </p:nvGrpSpPr>
          <p:grpSpPr>
            <a:xfrm>
              <a:off x="6490473" y="2158370"/>
              <a:ext cx="47433" cy="44118"/>
              <a:chOff x="6490473" y="2158370"/>
              <a:chExt cx="47433" cy="44118"/>
            </a:xfrm>
          </p:grpSpPr>
          <p:sp>
            <p:nvSpPr>
              <p:cNvPr id="260" name="Freihandform: Form 259">
                <a:extLst>
                  <a:ext uri="{FF2B5EF4-FFF2-40B4-BE49-F238E27FC236}">
                    <a16:creationId xmlns:a16="http://schemas.microsoft.com/office/drawing/2014/main" id="{B78FF311-D5FB-F897-6F60-A9D8CA8D8FC4}"/>
                  </a:ext>
                </a:extLst>
              </p:cNvPr>
              <p:cNvSpPr/>
              <p:nvPr/>
            </p:nvSpPr>
            <p:spPr>
              <a:xfrm>
                <a:off x="6514190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Freihandform: Form 260">
                <a:extLst>
                  <a:ext uri="{FF2B5EF4-FFF2-40B4-BE49-F238E27FC236}">
                    <a16:creationId xmlns:a16="http://schemas.microsoft.com/office/drawing/2014/main" id="{B4F4A922-7DDC-D2FD-EBA8-A872175F1F43}"/>
                  </a:ext>
                </a:extLst>
              </p:cNvPr>
              <p:cNvSpPr/>
              <p:nvPr/>
            </p:nvSpPr>
            <p:spPr>
              <a:xfrm>
                <a:off x="6490473" y="2180429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89">
              <a:extLst>
                <a:ext uri="{FF2B5EF4-FFF2-40B4-BE49-F238E27FC236}">
                  <a16:creationId xmlns:a16="http://schemas.microsoft.com/office/drawing/2014/main" id="{B7EB26F6-BE60-77A3-3F0A-3C6608BE9B83}"/>
                </a:ext>
              </a:extLst>
            </p:cNvPr>
            <p:cNvGrpSpPr/>
            <p:nvPr/>
          </p:nvGrpSpPr>
          <p:grpSpPr>
            <a:xfrm>
              <a:off x="6480655" y="2158370"/>
              <a:ext cx="47561" cy="44118"/>
              <a:chOff x="6480655" y="2158370"/>
              <a:chExt cx="47561" cy="44118"/>
            </a:xfrm>
          </p:grpSpPr>
          <p:sp>
            <p:nvSpPr>
              <p:cNvPr id="258" name="Freihandform: Form 257">
                <a:extLst>
                  <a:ext uri="{FF2B5EF4-FFF2-40B4-BE49-F238E27FC236}">
                    <a16:creationId xmlns:a16="http://schemas.microsoft.com/office/drawing/2014/main" id="{8B3459C4-0F2B-2D00-C07B-5CA1A4F87F31}"/>
                  </a:ext>
                </a:extLst>
              </p:cNvPr>
              <p:cNvSpPr/>
              <p:nvPr/>
            </p:nvSpPr>
            <p:spPr>
              <a:xfrm>
                <a:off x="6504372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9" name="Freihandform: Form 258">
                <a:extLst>
                  <a:ext uri="{FF2B5EF4-FFF2-40B4-BE49-F238E27FC236}">
                    <a16:creationId xmlns:a16="http://schemas.microsoft.com/office/drawing/2014/main" id="{03D04C2C-75DD-EF02-AFE8-519692C81A50}"/>
                  </a:ext>
                </a:extLst>
              </p:cNvPr>
              <p:cNvSpPr/>
              <p:nvPr/>
            </p:nvSpPr>
            <p:spPr>
              <a:xfrm>
                <a:off x="6480655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3" name="Grafik 89">
              <a:extLst>
                <a:ext uri="{FF2B5EF4-FFF2-40B4-BE49-F238E27FC236}">
                  <a16:creationId xmlns:a16="http://schemas.microsoft.com/office/drawing/2014/main" id="{87C3D3AA-32A2-C246-EB2E-896B31BE129C}"/>
                </a:ext>
              </a:extLst>
            </p:cNvPr>
            <p:cNvGrpSpPr/>
            <p:nvPr/>
          </p:nvGrpSpPr>
          <p:grpSpPr>
            <a:xfrm>
              <a:off x="6466629" y="2158370"/>
              <a:ext cx="47561" cy="44118"/>
              <a:chOff x="6466629" y="2158370"/>
              <a:chExt cx="47561" cy="44118"/>
            </a:xfrm>
          </p:grpSpPr>
          <p:sp>
            <p:nvSpPr>
              <p:cNvPr id="256" name="Freihandform: Form 255">
                <a:extLst>
                  <a:ext uri="{FF2B5EF4-FFF2-40B4-BE49-F238E27FC236}">
                    <a16:creationId xmlns:a16="http://schemas.microsoft.com/office/drawing/2014/main" id="{999DE6CD-E085-6FC2-A6B7-1B6AF5946D78}"/>
                  </a:ext>
                </a:extLst>
              </p:cNvPr>
              <p:cNvSpPr/>
              <p:nvPr/>
            </p:nvSpPr>
            <p:spPr>
              <a:xfrm>
                <a:off x="6490473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7" name="Freihandform: Form 256">
                <a:extLst>
                  <a:ext uri="{FF2B5EF4-FFF2-40B4-BE49-F238E27FC236}">
                    <a16:creationId xmlns:a16="http://schemas.microsoft.com/office/drawing/2014/main" id="{C8A42DA1-D381-73B9-2D7B-BF1E354FCF5C}"/>
                  </a:ext>
                </a:extLst>
              </p:cNvPr>
              <p:cNvSpPr/>
              <p:nvPr/>
            </p:nvSpPr>
            <p:spPr>
              <a:xfrm>
                <a:off x="6466629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4" name="Grafik 89">
              <a:extLst>
                <a:ext uri="{FF2B5EF4-FFF2-40B4-BE49-F238E27FC236}">
                  <a16:creationId xmlns:a16="http://schemas.microsoft.com/office/drawing/2014/main" id="{2902BA9B-6D8E-F5CF-9C04-A5E35E7E6663}"/>
                </a:ext>
              </a:extLst>
            </p:cNvPr>
            <p:cNvGrpSpPr/>
            <p:nvPr/>
          </p:nvGrpSpPr>
          <p:grpSpPr>
            <a:xfrm>
              <a:off x="6407464" y="2158370"/>
              <a:ext cx="47433" cy="44118"/>
              <a:chOff x="6407464" y="2158370"/>
              <a:chExt cx="47433" cy="44118"/>
            </a:xfrm>
          </p:grpSpPr>
          <p:sp>
            <p:nvSpPr>
              <p:cNvPr id="254" name="Freihandform: Form 253">
                <a:extLst>
                  <a:ext uri="{FF2B5EF4-FFF2-40B4-BE49-F238E27FC236}">
                    <a16:creationId xmlns:a16="http://schemas.microsoft.com/office/drawing/2014/main" id="{4356A72A-57F7-1D5C-4653-F3EE41DD4FB3}"/>
                  </a:ext>
                </a:extLst>
              </p:cNvPr>
              <p:cNvSpPr/>
              <p:nvPr/>
            </p:nvSpPr>
            <p:spPr>
              <a:xfrm>
                <a:off x="6431181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5" name="Freihandform: Form 254">
                <a:extLst>
                  <a:ext uri="{FF2B5EF4-FFF2-40B4-BE49-F238E27FC236}">
                    <a16:creationId xmlns:a16="http://schemas.microsoft.com/office/drawing/2014/main" id="{B75F3193-DADE-3BF2-0DFC-3F3078D371B5}"/>
                  </a:ext>
                </a:extLst>
              </p:cNvPr>
              <p:cNvSpPr/>
              <p:nvPr/>
            </p:nvSpPr>
            <p:spPr>
              <a:xfrm>
                <a:off x="6407464" y="2180429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5" name="Grafik 89">
              <a:extLst>
                <a:ext uri="{FF2B5EF4-FFF2-40B4-BE49-F238E27FC236}">
                  <a16:creationId xmlns:a16="http://schemas.microsoft.com/office/drawing/2014/main" id="{6D9F7580-E1FC-75A4-2127-7B21CF1BE9CD}"/>
                </a:ext>
              </a:extLst>
            </p:cNvPr>
            <p:cNvGrpSpPr/>
            <p:nvPr/>
          </p:nvGrpSpPr>
          <p:grpSpPr>
            <a:xfrm>
              <a:off x="6385405" y="2158370"/>
              <a:ext cx="47561" cy="44118"/>
              <a:chOff x="6385405" y="2158370"/>
              <a:chExt cx="47561" cy="44118"/>
            </a:xfrm>
          </p:grpSpPr>
          <p:sp>
            <p:nvSpPr>
              <p:cNvPr id="252" name="Freihandform: Form 251">
                <a:extLst>
                  <a:ext uri="{FF2B5EF4-FFF2-40B4-BE49-F238E27FC236}">
                    <a16:creationId xmlns:a16="http://schemas.microsoft.com/office/drawing/2014/main" id="{27BDF711-7D4F-FF12-1CA2-46A4FDF43B63}"/>
                  </a:ext>
                </a:extLst>
              </p:cNvPr>
              <p:cNvSpPr/>
              <p:nvPr/>
            </p:nvSpPr>
            <p:spPr>
              <a:xfrm>
                <a:off x="6409250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Freihandform: Form 252">
                <a:extLst>
                  <a:ext uri="{FF2B5EF4-FFF2-40B4-BE49-F238E27FC236}">
                    <a16:creationId xmlns:a16="http://schemas.microsoft.com/office/drawing/2014/main" id="{0810D8E9-EC2F-5A83-5D90-48FC4D5004B6}"/>
                  </a:ext>
                </a:extLst>
              </p:cNvPr>
              <p:cNvSpPr/>
              <p:nvPr/>
            </p:nvSpPr>
            <p:spPr>
              <a:xfrm>
                <a:off x="6385405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6" name="Grafik 89">
              <a:extLst>
                <a:ext uri="{FF2B5EF4-FFF2-40B4-BE49-F238E27FC236}">
                  <a16:creationId xmlns:a16="http://schemas.microsoft.com/office/drawing/2014/main" id="{19371A26-3828-E92C-E428-9803F4E457F0}"/>
                </a:ext>
              </a:extLst>
            </p:cNvPr>
            <p:cNvGrpSpPr/>
            <p:nvPr/>
          </p:nvGrpSpPr>
          <p:grpSpPr>
            <a:xfrm>
              <a:off x="6372399" y="2158370"/>
              <a:ext cx="47561" cy="44118"/>
              <a:chOff x="6372399" y="2158370"/>
              <a:chExt cx="47561" cy="44118"/>
            </a:xfrm>
          </p:grpSpPr>
          <p:sp>
            <p:nvSpPr>
              <p:cNvPr id="250" name="Freihandform: Form 249">
                <a:extLst>
                  <a:ext uri="{FF2B5EF4-FFF2-40B4-BE49-F238E27FC236}">
                    <a16:creationId xmlns:a16="http://schemas.microsoft.com/office/drawing/2014/main" id="{F181848A-79D6-73F2-6E68-54CF988FC234}"/>
                  </a:ext>
                </a:extLst>
              </p:cNvPr>
              <p:cNvSpPr/>
              <p:nvPr/>
            </p:nvSpPr>
            <p:spPr>
              <a:xfrm>
                <a:off x="6396116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1" name="Freihandform: Form 250">
                <a:extLst>
                  <a:ext uri="{FF2B5EF4-FFF2-40B4-BE49-F238E27FC236}">
                    <a16:creationId xmlns:a16="http://schemas.microsoft.com/office/drawing/2014/main" id="{D41B58C1-479C-52D8-CF05-500966BCB8ED}"/>
                  </a:ext>
                </a:extLst>
              </p:cNvPr>
              <p:cNvSpPr/>
              <p:nvPr/>
            </p:nvSpPr>
            <p:spPr>
              <a:xfrm>
                <a:off x="6372399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7" name="Grafik 89">
              <a:extLst>
                <a:ext uri="{FF2B5EF4-FFF2-40B4-BE49-F238E27FC236}">
                  <a16:creationId xmlns:a16="http://schemas.microsoft.com/office/drawing/2014/main" id="{6791FBCC-3440-5310-B040-ACEBC43CA014}"/>
                </a:ext>
              </a:extLst>
            </p:cNvPr>
            <p:cNvGrpSpPr/>
            <p:nvPr/>
          </p:nvGrpSpPr>
          <p:grpSpPr>
            <a:xfrm>
              <a:off x="6348683" y="2158370"/>
              <a:ext cx="47433" cy="44118"/>
              <a:chOff x="6348683" y="2158370"/>
              <a:chExt cx="47433" cy="44118"/>
            </a:xfrm>
          </p:grpSpPr>
          <p:sp>
            <p:nvSpPr>
              <p:cNvPr id="248" name="Freihandform: Form 247">
                <a:extLst>
                  <a:ext uri="{FF2B5EF4-FFF2-40B4-BE49-F238E27FC236}">
                    <a16:creationId xmlns:a16="http://schemas.microsoft.com/office/drawing/2014/main" id="{AF004B37-9E9A-93D7-8347-03A785BF6095}"/>
                  </a:ext>
                </a:extLst>
              </p:cNvPr>
              <p:cNvSpPr/>
              <p:nvPr/>
            </p:nvSpPr>
            <p:spPr>
              <a:xfrm>
                <a:off x="6372399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9" name="Freihandform: Form 248">
                <a:extLst>
                  <a:ext uri="{FF2B5EF4-FFF2-40B4-BE49-F238E27FC236}">
                    <a16:creationId xmlns:a16="http://schemas.microsoft.com/office/drawing/2014/main" id="{D107AE1D-05A8-BC98-30BA-8791054CD8FA}"/>
                  </a:ext>
                </a:extLst>
              </p:cNvPr>
              <p:cNvSpPr/>
              <p:nvPr/>
            </p:nvSpPr>
            <p:spPr>
              <a:xfrm>
                <a:off x="6348683" y="2180429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8" name="Grafik 89">
              <a:extLst>
                <a:ext uri="{FF2B5EF4-FFF2-40B4-BE49-F238E27FC236}">
                  <a16:creationId xmlns:a16="http://schemas.microsoft.com/office/drawing/2014/main" id="{93DF68CF-9BCE-6A0A-DDD4-171D55C585CF}"/>
                </a:ext>
              </a:extLst>
            </p:cNvPr>
            <p:cNvGrpSpPr/>
            <p:nvPr/>
          </p:nvGrpSpPr>
          <p:grpSpPr>
            <a:xfrm>
              <a:off x="6319100" y="2158370"/>
              <a:ext cx="47561" cy="44118"/>
              <a:chOff x="6319100" y="2158370"/>
              <a:chExt cx="47561" cy="44118"/>
            </a:xfrm>
          </p:grpSpPr>
          <p:sp>
            <p:nvSpPr>
              <p:cNvPr id="246" name="Freihandform: Form 245">
                <a:extLst>
                  <a:ext uri="{FF2B5EF4-FFF2-40B4-BE49-F238E27FC236}">
                    <a16:creationId xmlns:a16="http://schemas.microsoft.com/office/drawing/2014/main" id="{D4F4A79E-C74D-7177-5812-9CAE03B05B7A}"/>
                  </a:ext>
                </a:extLst>
              </p:cNvPr>
              <p:cNvSpPr/>
              <p:nvPr/>
            </p:nvSpPr>
            <p:spPr>
              <a:xfrm>
                <a:off x="6342817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7" name="Freihandform: Form 246">
                <a:extLst>
                  <a:ext uri="{FF2B5EF4-FFF2-40B4-BE49-F238E27FC236}">
                    <a16:creationId xmlns:a16="http://schemas.microsoft.com/office/drawing/2014/main" id="{8D2B8DB8-81A9-2EA9-CEBD-B24DD35D9B38}"/>
                  </a:ext>
                </a:extLst>
              </p:cNvPr>
              <p:cNvSpPr/>
              <p:nvPr/>
            </p:nvSpPr>
            <p:spPr>
              <a:xfrm>
                <a:off x="6319100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9" name="Grafik 89">
              <a:extLst>
                <a:ext uri="{FF2B5EF4-FFF2-40B4-BE49-F238E27FC236}">
                  <a16:creationId xmlns:a16="http://schemas.microsoft.com/office/drawing/2014/main" id="{D5854741-8108-1327-B370-2236AE4B1958}"/>
                </a:ext>
              </a:extLst>
            </p:cNvPr>
            <p:cNvGrpSpPr/>
            <p:nvPr/>
          </p:nvGrpSpPr>
          <p:grpSpPr>
            <a:xfrm>
              <a:off x="6312215" y="2158370"/>
              <a:ext cx="47561" cy="44118"/>
              <a:chOff x="6312215" y="2158370"/>
              <a:chExt cx="47561" cy="44118"/>
            </a:xfrm>
          </p:grpSpPr>
          <p:sp>
            <p:nvSpPr>
              <p:cNvPr id="244" name="Freihandform: Form 243">
                <a:extLst>
                  <a:ext uri="{FF2B5EF4-FFF2-40B4-BE49-F238E27FC236}">
                    <a16:creationId xmlns:a16="http://schemas.microsoft.com/office/drawing/2014/main" id="{EA4A6A4B-7C5B-DDED-82FB-5CD6B55597ED}"/>
                  </a:ext>
                </a:extLst>
              </p:cNvPr>
              <p:cNvSpPr/>
              <p:nvPr/>
            </p:nvSpPr>
            <p:spPr>
              <a:xfrm>
                <a:off x="6335932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5" name="Freihandform: Form 244">
                <a:extLst>
                  <a:ext uri="{FF2B5EF4-FFF2-40B4-BE49-F238E27FC236}">
                    <a16:creationId xmlns:a16="http://schemas.microsoft.com/office/drawing/2014/main" id="{668609B9-9331-81E0-E381-56863C1D5F67}"/>
                  </a:ext>
                </a:extLst>
              </p:cNvPr>
              <p:cNvSpPr/>
              <p:nvPr/>
            </p:nvSpPr>
            <p:spPr>
              <a:xfrm>
                <a:off x="6312215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0" name="Grafik 89">
              <a:extLst>
                <a:ext uri="{FF2B5EF4-FFF2-40B4-BE49-F238E27FC236}">
                  <a16:creationId xmlns:a16="http://schemas.microsoft.com/office/drawing/2014/main" id="{4E7CCD93-B4D6-36B8-273B-38B3F59499A3}"/>
                </a:ext>
              </a:extLst>
            </p:cNvPr>
            <p:cNvGrpSpPr/>
            <p:nvPr/>
          </p:nvGrpSpPr>
          <p:grpSpPr>
            <a:xfrm>
              <a:off x="6288371" y="2158370"/>
              <a:ext cx="47561" cy="44118"/>
              <a:chOff x="6288371" y="2158370"/>
              <a:chExt cx="47561" cy="44118"/>
            </a:xfrm>
          </p:grpSpPr>
          <p:sp>
            <p:nvSpPr>
              <p:cNvPr id="242" name="Freihandform: Form 241">
                <a:extLst>
                  <a:ext uri="{FF2B5EF4-FFF2-40B4-BE49-F238E27FC236}">
                    <a16:creationId xmlns:a16="http://schemas.microsoft.com/office/drawing/2014/main" id="{5E61EC4B-6DDC-BFD8-9AD1-74B6DD73ECF4}"/>
                  </a:ext>
                </a:extLst>
              </p:cNvPr>
              <p:cNvSpPr/>
              <p:nvPr/>
            </p:nvSpPr>
            <p:spPr>
              <a:xfrm>
                <a:off x="6312215" y="215837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3" name="Freihandform: Form 242">
                <a:extLst>
                  <a:ext uri="{FF2B5EF4-FFF2-40B4-BE49-F238E27FC236}">
                    <a16:creationId xmlns:a16="http://schemas.microsoft.com/office/drawing/2014/main" id="{06D4297D-B797-7802-33B7-33A7454782AF}"/>
                  </a:ext>
                </a:extLst>
              </p:cNvPr>
              <p:cNvSpPr/>
              <p:nvPr/>
            </p:nvSpPr>
            <p:spPr>
              <a:xfrm>
                <a:off x="6288371" y="21804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1" name="Grafik 89">
              <a:extLst>
                <a:ext uri="{FF2B5EF4-FFF2-40B4-BE49-F238E27FC236}">
                  <a16:creationId xmlns:a16="http://schemas.microsoft.com/office/drawing/2014/main" id="{63E7B87F-A619-AB12-C693-061C8DA75CA5}"/>
                </a:ext>
              </a:extLst>
            </p:cNvPr>
            <p:cNvGrpSpPr/>
            <p:nvPr/>
          </p:nvGrpSpPr>
          <p:grpSpPr>
            <a:xfrm>
              <a:off x="6253178" y="2136311"/>
              <a:ext cx="47561" cy="44118"/>
              <a:chOff x="6253178" y="2136311"/>
              <a:chExt cx="47561" cy="44118"/>
            </a:xfrm>
          </p:grpSpPr>
          <p:sp>
            <p:nvSpPr>
              <p:cNvPr id="240" name="Freihandform: Form 239">
                <a:extLst>
                  <a:ext uri="{FF2B5EF4-FFF2-40B4-BE49-F238E27FC236}">
                    <a16:creationId xmlns:a16="http://schemas.microsoft.com/office/drawing/2014/main" id="{FCF08561-2B06-C292-8BBC-3F07D301F746}"/>
                  </a:ext>
                </a:extLst>
              </p:cNvPr>
              <p:cNvSpPr/>
              <p:nvPr/>
            </p:nvSpPr>
            <p:spPr>
              <a:xfrm>
                <a:off x="6276895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Freihandform: Form 240">
                <a:extLst>
                  <a:ext uri="{FF2B5EF4-FFF2-40B4-BE49-F238E27FC236}">
                    <a16:creationId xmlns:a16="http://schemas.microsoft.com/office/drawing/2014/main" id="{69109F81-13A4-B32D-B5C4-DB2D19982216}"/>
                  </a:ext>
                </a:extLst>
              </p:cNvPr>
              <p:cNvSpPr/>
              <p:nvPr/>
            </p:nvSpPr>
            <p:spPr>
              <a:xfrm>
                <a:off x="6253178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2" name="Grafik 89">
              <a:extLst>
                <a:ext uri="{FF2B5EF4-FFF2-40B4-BE49-F238E27FC236}">
                  <a16:creationId xmlns:a16="http://schemas.microsoft.com/office/drawing/2014/main" id="{31746144-9772-07B0-2A84-2C2CA44F10C0}"/>
                </a:ext>
              </a:extLst>
            </p:cNvPr>
            <p:cNvGrpSpPr/>
            <p:nvPr/>
          </p:nvGrpSpPr>
          <p:grpSpPr>
            <a:xfrm>
              <a:off x="6217348" y="2136311"/>
              <a:ext cx="47561" cy="44118"/>
              <a:chOff x="6217348" y="2136311"/>
              <a:chExt cx="47561" cy="44118"/>
            </a:xfrm>
          </p:grpSpPr>
          <p:sp>
            <p:nvSpPr>
              <p:cNvPr id="238" name="Freihandform: Form 237">
                <a:extLst>
                  <a:ext uri="{FF2B5EF4-FFF2-40B4-BE49-F238E27FC236}">
                    <a16:creationId xmlns:a16="http://schemas.microsoft.com/office/drawing/2014/main" id="{936A1C31-3459-D4F8-4210-3E4EA05FEFD3}"/>
                  </a:ext>
                </a:extLst>
              </p:cNvPr>
              <p:cNvSpPr/>
              <p:nvPr/>
            </p:nvSpPr>
            <p:spPr>
              <a:xfrm>
                <a:off x="6241192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9" name="Freihandform: Form 238">
                <a:extLst>
                  <a:ext uri="{FF2B5EF4-FFF2-40B4-BE49-F238E27FC236}">
                    <a16:creationId xmlns:a16="http://schemas.microsoft.com/office/drawing/2014/main" id="{30D16CAB-47A2-BB25-0D2D-8F9F8534212C}"/>
                  </a:ext>
                </a:extLst>
              </p:cNvPr>
              <p:cNvSpPr/>
              <p:nvPr/>
            </p:nvSpPr>
            <p:spPr>
              <a:xfrm>
                <a:off x="6217348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3" name="Grafik 89">
              <a:extLst>
                <a:ext uri="{FF2B5EF4-FFF2-40B4-BE49-F238E27FC236}">
                  <a16:creationId xmlns:a16="http://schemas.microsoft.com/office/drawing/2014/main" id="{16E388A7-9F79-F7ED-D433-8EDB0A91F0EB}"/>
                </a:ext>
              </a:extLst>
            </p:cNvPr>
            <p:cNvGrpSpPr/>
            <p:nvPr/>
          </p:nvGrpSpPr>
          <p:grpSpPr>
            <a:xfrm>
              <a:off x="6184833" y="2136311"/>
              <a:ext cx="47561" cy="44118"/>
              <a:chOff x="6184833" y="2136311"/>
              <a:chExt cx="47561" cy="44118"/>
            </a:xfrm>
          </p:grpSpPr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9CE3D478-183A-1D92-105B-392EBD8311A4}"/>
                  </a:ext>
                </a:extLst>
              </p:cNvPr>
              <p:cNvSpPr/>
              <p:nvPr/>
            </p:nvSpPr>
            <p:spPr>
              <a:xfrm>
                <a:off x="6208550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7" name="Freihandform: Form 236">
                <a:extLst>
                  <a:ext uri="{FF2B5EF4-FFF2-40B4-BE49-F238E27FC236}">
                    <a16:creationId xmlns:a16="http://schemas.microsoft.com/office/drawing/2014/main" id="{85D2ACA4-5FB0-4F07-0F2A-0753CDCB89AA}"/>
                  </a:ext>
                </a:extLst>
              </p:cNvPr>
              <p:cNvSpPr/>
              <p:nvPr/>
            </p:nvSpPr>
            <p:spPr>
              <a:xfrm>
                <a:off x="6184833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4" name="Grafik 89">
              <a:extLst>
                <a:ext uri="{FF2B5EF4-FFF2-40B4-BE49-F238E27FC236}">
                  <a16:creationId xmlns:a16="http://schemas.microsoft.com/office/drawing/2014/main" id="{F96DAF1B-9D9C-8E67-3160-DD19F36B19CF}"/>
                </a:ext>
              </a:extLst>
            </p:cNvPr>
            <p:cNvGrpSpPr/>
            <p:nvPr/>
          </p:nvGrpSpPr>
          <p:grpSpPr>
            <a:xfrm>
              <a:off x="6163666" y="2136311"/>
              <a:ext cx="47561" cy="44118"/>
              <a:chOff x="6163666" y="2136311"/>
              <a:chExt cx="47561" cy="44118"/>
            </a:xfrm>
          </p:grpSpPr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C0943375-5A69-D8CB-3047-71D0785C121B}"/>
                  </a:ext>
                </a:extLst>
              </p:cNvPr>
              <p:cNvSpPr/>
              <p:nvPr/>
            </p:nvSpPr>
            <p:spPr>
              <a:xfrm>
                <a:off x="6187383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2FDB1E16-BF43-9BF3-5794-7200B5E9C75B}"/>
                  </a:ext>
                </a:extLst>
              </p:cNvPr>
              <p:cNvSpPr/>
              <p:nvPr/>
            </p:nvSpPr>
            <p:spPr>
              <a:xfrm>
                <a:off x="6163666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5" name="Grafik 89">
              <a:extLst>
                <a:ext uri="{FF2B5EF4-FFF2-40B4-BE49-F238E27FC236}">
                  <a16:creationId xmlns:a16="http://schemas.microsoft.com/office/drawing/2014/main" id="{D136BF2A-4B78-2600-F1B6-C0569D83E925}"/>
                </a:ext>
              </a:extLst>
            </p:cNvPr>
            <p:cNvGrpSpPr/>
            <p:nvPr/>
          </p:nvGrpSpPr>
          <p:grpSpPr>
            <a:xfrm>
              <a:off x="6146197" y="2136311"/>
              <a:ext cx="47433" cy="44118"/>
              <a:chOff x="6146197" y="2136311"/>
              <a:chExt cx="47433" cy="44118"/>
            </a:xfrm>
          </p:grpSpPr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39B53BF2-EC9A-B087-E333-DDEDE5A990DD}"/>
                  </a:ext>
                </a:extLst>
              </p:cNvPr>
              <p:cNvSpPr/>
              <p:nvPr/>
            </p:nvSpPr>
            <p:spPr>
              <a:xfrm>
                <a:off x="6169914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Freihandform: Form 232">
                <a:extLst>
                  <a:ext uri="{FF2B5EF4-FFF2-40B4-BE49-F238E27FC236}">
                    <a16:creationId xmlns:a16="http://schemas.microsoft.com/office/drawing/2014/main" id="{02D62099-4AA3-3163-7190-99C6F3035F21}"/>
                  </a:ext>
                </a:extLst>
              </p:cNvPr>
              <p:cNvSpPr/>
              <p:nvPr/>
            </p:nvSpPr>
            <p:spPr>
              <a:xfrm>
                <a:off x="6146197" y="2158370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6" name="Grafik 89">
              <a:extLst>
                <a:ext uri="{FF2B5EF4-FFF2-40B4-BE49-F238E27FC236}">
                  <a16:creationId xmlns:a16="http://schemas.microsoft.com/office/drawing/2014/main" id="{FA71A4CD-858E-E6E6-88F7-2ED5B38B5FE4}"/>
                </a:ext>
              </a:extLst>
            </p:cNvPr>
            <p:cNvGrpSpPr/>
            <p:nvPr/>
          </p:nvGrpSpPr>
          <p:grpSpPr>
            <a:xfrm>
              <a:off x="6139822" y="2136311"/>
              <a:ext cx="47561" cy="44118"/>
              <a:chOff x="6139822" y="2136311"/>
              <a:chExt cx="47561" cy="44118"/>
            </a:xfrm>
          </p:grpSpPr>
          <p:sp>
            <p:nvSpPr>
              <p:cNvPr id="230" name="Freihandform: Form 229">
                <a:extLst>
                  <a:ext uri="{FF2B5EF4-FFF2-40B4-BE49-F238E27FC236}">
                    <a16:creationId xmlns:a16="http://schemas.microsoft.com/office/drawing/2014/main" id="{63BAA88D-8F23-F5EF-70B7-0692BDBC765B}"/>
                  </a:ext>
                </a:extLst>
              </p:cNvPr>
              <p:cNvSpPr/>
              <p:nvPr/>
            </p:nvSpPr>
            <p:spPr>
              <a:xfrm>
                <a:off x="6163666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E322C770-4A4D-68A0-E056-2E24F300502F}"/>
                  </a:ext>
                </a:extLst>
              </p:cNvPr>
              <p:cNvSpPr/>
              <p:nvPr/>
            </p:nvSpPr>
            <p:spPr>
              <a:xfrm>
                <a:off x="6139822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7" name="Grafik 89">
              <a:extLst>
                <a:ext uri="{FF2B5EF4-FFF2-40B4-BE49-F238E27FC236}">
                  <a16:creationId xmlns:a16="http://schemas.microsoft.com/office/drawing/2014/main" id="{F3DBFD61-A973-2D63-158B-B63290DD7142}"/>
                </a:ext>
              </a:extLst>
            </p:cNvPr>
            <p:cNvGrpSpPr/>
            <p:nvPr/>
          </p:nvGrpSpPr>
          <p:grpSpPr>
            <a:xfrm>
              <a:off x="6120058" y="2136311"/>
              <a:ext cx="47561" cy="44118"/>
              <a:chOff x="6120058" y="2136311"/>
              <a:chExt cx="47561" cy="44118"/>
            </a:xfrm>
          </p:grpSpPr>
          <p:sp>
            <p:nvSpPr>
              <p:cNvPr id="228" name="Freihandform: Form 227">
                <a:extLst>
                  <a:ext uri="{FF2B5EF4-FFF2-40B4-BE49-F238E27FC236}">
                    <a16:creationId xmlns:a16="http://schemas.microsoft.com/office/drawing/2014/main" id="{CED00BE1-914B-7BD9-69A7-0B7DBD869B2F}"/>
                  </a:ext>
                </a:extLst>
              </p:cNvPr>
              <p:cNvSpPr/>
              <p:nvPr/>
            </p:nvSpPr>
            <p:spPr>
              <a:xfrm>
                <a:off x="6143902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9" name="Freihandform: Form 228">
                <a:extLst>
                  <a:ext uri="{FF2B5EF4-FFF2-40B4-BE49-F238E27FC236}">
                    <a16:creationId xmlns:a16="http://schemas.microsoft.com/office/drawing/2014/main" id="{24DEC07D-7E17-61E0-D0A4-CE37467AD93A}"/>
                  </a:ext>
                </a:extLst>
              </p:cNvPr>
              <p:cNvSpPr/>
              <p:nvPr/>
            </p:nvSpPr>
            <p:spPr>
              <a:xfrm>
                <a:off x="6120058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8" name="Grafik 89">
              <a:extLst>
                <a:ext uri="{FF2B5EF4-FFF2-40B4-BE49-F238E27FC236}">
                  <a16:creationId xmlns:a16="http://schemas.microsoft.com/office/drawing/2014/main" id="{ECAA2990-68FF-411D-797A-DF1044FCC23B}"/>
                </a:ext>
              </a:extLst>
            </p:cNvPr>
            <p:cNvGrpSpPr/>
            <p:nvPr/>
          </p:nvGrpSpPr>
          <p:grpSpPr>
            <a:xfrm>
              <a:off x="6111132" y="2136311"/>
              <a:ext cx="47561" cy="44118"/>
              <a:chOff x="6111132" y="2136311"/>
              <a:chExt cx="47561" cy="44118"/>
            </a:xfrm>
          </p:grpSpPr>
          <p:sp>
            <p:nvSpPr>
              <p:cNvPr id="226" name="Freihandform: Form 225">
                <a:extLst>
                  <a:ext uri="{FF2B5EF4-FFF2-40B4-BE49-F238E27FC236}">
                    <a16:creationId xmlns:a16="http://schemas.microsoft.com/office/drawing/2014/main" id="{A92349A0-C819-671F-5828-5B98E1589FA2}"/>
                  </a:ext>
                </a:extLst>
              </p:cNvPr>
              <p:cNvSpPr/>
              <p:nvPr/>
            </p:nvSpPr>
            <p:spPr>
              <a:xfrm>
                <a:off x="6134977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7" name="Freihandform: Form 226">
                <a:extLst>
                  <a:ext uri="{FF2B5EF4-FFF2-40B4-BE49-F238E27FC236}">
                    <a16:creationId xmlns:a16="http://schemas.microsoft.com/office/drawing/2014/main" id="{1C4D621A-8B78-D79F-71F8-8C902FC75D28}"/>
                  </a:ext>
                </a:extLst>
              </p:cNvPr>
              <p:cNvSpPr/>
              <p:nvPr/>
            </p:nvSpPr>
            <p:spPr>
              <a:xfrm>
                <a:off x="6111132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9" name="Grafik 89">
              <a:extLst>
                <a:ext uri="{FF2B5EF4-FFF2-40B4-BE49-F238E27FC236}">
                  <a16:creationId xmlns:a16="http://schemas.microsoft.com/office/drawing/2014/main" id="{20EB430E-D723-FE12-B2C4-DA2CD8319B3A}"/>
                </a:ext>
              </a:extLst>
            </p:cNvPr>
            <p:cNvGrpSpPr/>
            <p:nvPr/>
          </p:nvGrpSpPr>
          <p:grpSpPr>
            <a:xfrm>
              <a:off x="6101442" y="2136311"/>
              <a:ext cx="47433" cy="44118"/>
              <a:chOff x="6101442" y="2136311"/>
              <a:chExt cx="47433" cy="44118"/>
            </a:xfrm>
          </p:grpSpPr>
          <p:sp>
            <p:nvSpPr>
              <p:cNvPr id="224" name="Freihandform: Form 223">
                <a:extLst>
                  <a:ext uri="{FF2B5EF4-FFF2-40B4-BE49-F238E27FC236}">
                    <a16:creationId xmlns:a16="http://schemas.microsoft.com/office/drawing/2014/main" id="{97F8016A-B728-1479-15A5-4AAADB91D55C}"/>
                  </a:ext>
                </a:extLst>
              </p:cNvPr>
              <p:cNvSpPr/>
              <p:nvPr/>
            </p:nvSpPr>
            <p:spPr>
              <a:xfrm>
                <a:off x="6125158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5" name="Freihandform: Form 224">
                <a:extLst>
                  <a:ext uri="{FF2B5EF4-FFF2-40B4-BE49-F238E27FC236}">
                    <a16:creationId xmlns:a16="http://schemas.microsoft.com/office/drawing/2014/main" id="{D3750221-C074-BAD8-8521-3EA2D904CB47}"/>
                  </a:ext>
                </a:extLst>
              </p:cNvPr>
              <p:cNvSpPr/>
              <p:nvPr/>
            </p:nvSpPr>
            <p:spPr>
              <a:xfrm>
                <a:off x="6101442" y="2158370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0" name="Grafik 89">
              <a:extLst>
                <a:ext uri="{FF2B5EF4-FFF2-40B4-BE49-F238E27FC236}">
                  <a16:creationId xmlns:a16="http://schemas.microsoft.com/office/drawing/2014/main" id="{51B55667-A876-CB7C-81A0-340608E278BE}"/>
                </a:ext>
              </a:extLst>
            </p:cNvPr>
            <p:cNvGrpSpPr/>
            <p:nvPr/>
          </p:nvGrpSpPr>
          <p:grpSpPr>
            <a:xfrm>
              <a:off x="6093281" y="2136311"/>
              <a:ext cx="47561" cy="44118"/>
              <a:chOff x="6093281" y="2136311"/>
              <a:chExt cx="47561" cy="44118"/>
            </a:xfrm>
          </p:grpSpPr>
          <p:sp>
            <p:nvSpPr>
              <p:cNvPr id="222" name="Freihandform: Form 221">
                <a:extLst>
                  <a:ext uri="{FF2B5EF4-FFF2-40B4-BE49-F238E27FC236}">
                    <a16:creationId xmlns:a16="http://schemas.microsoft.com/office/drawing/2014/main" id="{C2B3CD3E-EFCE-E7B2-9357-DEC5813A89F6}"/>
                  </a:ext>
                </a:extLst>
              </p:cNvPr>
              <p:cNvSpPr/>
              <p:nvPr/>
            </p:nvSpPr>
            <p:spPr>
              <a:xfrm>
                <a:off x="6116998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3" name="Freihandform: Form 222">
                <a:extLst>
                  <a:ext uri="{FF2B5EF4-FFF2-40B4-BE49-F238E27FC236}">
                    <a16:creationId xmlns:a16="http://schemas.microsoft.com/office/drawing/2014/main" id="{278879B5-D7F8-DC76-53D0-F1766B375995}"/>
                  </a:ext>
                </a:extLst>
              </p:cNvPr>
              <p:cNvSpPr/>
              <p:nvPr/>
            </p:nvSpPr>
            <p:spPr>
              <a:xfrm>
                <a:off x="6093281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1" name="Grafik 89">
              <a:extLst>
                <a:ext uri="{FF2B5EF4-FFF2-40B4-BE49-F238E27FC236}">
                  <a16:creationId xmlns:a16="http://schemas.microsoft.com/office/drawing/2014/main" id="{FFD0706D-00AB-07AA-42D2-EB649B037DB9}"/>
                </a:ext>
              </a:extLst>
            </p:cNvPr>
            <p:cNvGrpSpPr/>
            <p:nvPr/>
          </p:nvGrpSpPr>
          <p:grpSpPr>
            <a:xfrm>
              <a:off x="6073772" y="2136311"/>
              <a:ext cx="47433" cy="44118"/>
              <a:chOff x="6073772" y="2136311"/>
              <a:chExt cx="47433" cy="44118"/>
            </a:xfrm>
          </p:grpSpPr>
          <p:sp>
            <p:nvSpPr>
              <p:cNvPr id="220" name="Freihandform: Form 219">
                <a:extLst>
                  <a:ext uri="{FF2B5EF4-FFF2-40B4-BE49-F238E27FC236}">
                    <a16:creationId xmlns:a16="http://schemas.microsoft.com/office/drawing/2014/main" id="{1490AF0E-BCC5-E4CC-102E-31CC5A107519}"/>
                  </a:ext>
                </a:extLst>
              </p:cNvPr>
              <p:cNvSpPr/>
              <p:nvPr/>
            </p:nvSpPr>
            <p:spPr>
              <a:xfrm>
                <a:off x="6097489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1" name="Freihandform: Form 220">
                <a:extLst>
                  <a:ext uri="{FF2B5EF4-FFF2-40B4-BE49-F238E27FC236}">
                    <a16:creationId xmlns:a16="http://schemas.microsoft.com/office/drawing/2014/main" id="{ABD70267-5013-A1FC-3D13-05A34906E136}"/>
                  </a:ext>
                </a:extLst>
              </p:cNvPr>
              <p:cNvSpPr/>
              <p:nvPr/>
            </p:nvSpPr>
            <p:spPr>
              <a:xfrm>
                <a:off x="6073772" y="2158370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2" name="Grafik 89">
              <a:extLst>
                <a:ext uri="{FF2B5EF4-FFF2-40B4-BE49-F238E27FC236}">
                  <a16:creationId xmlns:a16="http://schemas.microsoft.com/office/drawing/2014/main" id="{56CFE662-D317-CB35-1B41-A8A42D2E49CC}"/>
                </a:ext>
              </a:extLst>
            </p:cNvPr>
            <p:cNvGrpSpPr/>
            <p:nvPr/>
          </p:nvGrpSpPr>
          <p:grpSpPr>
            <a:xfrm>
              <a:off x="6065101" y="2136311"/>
              <a:ext cx="47561" cy="44118"/>
              <a:chOff x="6065101" y="2136311"/>
              <a:chExt cx="47561" cy="44118"/>
            </a:xfrm>
          </p:grpSpPr>
          <p:sp>
            <p:nvSpPr>
              <p:cNvPr id="218" name="Freihandform: Form 217">
                <a:extLst>
                  <a:ext uri="{FF2B5EF4-FFF2-40B4-BE49-F238E27FC236}">
                    <a16:creationId xmlns:a16="http://schemas.microsoft.com/office/drawing/2014/main" id="{4B8A27B6-347A-C27D-FA52-9184C7DA350C}"/>
                  </a:ext>
                </a:extLst>
              </p:cNvPr>
              <p:cNvSpPr/>
              <p:nvPr/>
            </p:nvSpPr>
            <p:spPr>
              <a:xfrm>
                <a:off x="6088946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9" name="Freihandform: Form 218">
                <a:extLst>
                  <a:ext uri="{FF2B5EF4-FFF2-40B4-BE49-F238E27FC236}">
                    <a16:creationId xmlns:a16="http://schemas.microsoft.com/office/drawing/2014/main" id="{4350F460-D701-A78E-1DBE-24B7BA527B09}"/>
                  </a:ext>
                </a:extLst>
              </p:cNvPr>
              <p:cNvSpPr/>
              <p:nvPr/>
            </p:nvSpPr>
            <p:spPr>
              <a:xfrm>
                <a:off x="6065101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3" name="Grafik 89">
              <a:extLst>
                <a:ext uri="{FF2B5EF4-FFF2-40B4-BE49-F238E27FC236}">
                  <a16:creationId xmlns:a16="http://schemas.microsoft.com/office/drawing/2014/main" id="{6F217E45-E6A3-D988-ED11-F28F7AD1B9C6}"/>
                </a:ext>
              </a:extLst>
            </p:cNvPr>
            <p:cNvGrpSpPr/>
            <p:nvPr/>
          </p:nvGrpSpPr>
          <p:grpSpPr>
            <a:xfrm>
              <a:off x="6057068" y="2136311"/>
              <a:ext cx="47433" cy="44118"/>
              <a:chOff x="6057068" y="2136311"/>
              <a:chExt cx="47433" cy="44118"/>
            </a:xfrm>
          </p:grpSpPr>
          <p:sp>
            <p:nvSpPr>
              <p:cNvPr id="216" name="Freihandform: Form 215">
                <a:extLst>
                  <a:ext uri="{FF2B5EF4-FFF2-40B4-BE49-F238E27FC236}">
                    <a16:creationId xmlns:a16="http://schemas.microsoft.com/office/drawing/2014/main" id="{61EE2342-361D-8722-17B8-9E7EC5DDC740}"/>
                  </a:ext>
                </a:extLst>
              </p:cNvPr>
              <p:cNvSpPr/>
              <p:nvPr/>
            </p:nvSpPr>
            <p:spPr>
              <a:xfrm>
                <a:off x="6080785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7" name="Freihandform: Form 216">
                <a:extLst>
                  <a:ext uri="{FF2B5EF4-FFF2-40B4-BE49-F238E27FC236}">
                    <a16:creationId xmlns:a16="http://schemas.microsoft.com/office/drawing/2014/main" id="{61A43F8E-2F5C-1A59-AE39-03D44842B28B}"/>
                  </a:ext>
                </a:extLst>
              </p:cNvPr>
              <p:cNvSpPr/>
              <p:nvPr/>
            </p:nvSpPr>
            <p:spPr>
              <a:xfrm>
                <a:off x="6057068" y="2158370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4" name="Grafik 89">
              <a:extLst>
                <a:ext uri="{FF2B5EF4-FFF2-40B4-BE49-F238E27FC236}">
                  <a16:creationId xmlns:a16="http://schemas.microsoft.com/office/drawing/2014/main" id="{244DA176-A56D-5459-8A87-1A0BB4003A9A}"/>
                </a:ext>
              </a:extLst>
            </p:cNvPr>
            <p:cNvGrpSpPr/>
            <p:nvPr/>
          </p:nvGrpSpPr>
          <p:grpSpPr>
            <a:xfrm>
              <a:off x="6037942" y="2136311"/>
              <a:ext cx="47433" cy="44118"/>
              <a:chOff x="6037942" y="2136311"/>
              <a:chExt cx="47433" cy="44118"/>
            </a:xfrm>
          </p:grpSpPr>
          <p:sp>
            <p:nvSpPr>
              <p:cNvPr id="214" name="Freihandform: Form 213">
                <a:extLst>
                  <a:ext uri="{FF2B5EF4-FFF2-40B4-BE49-F238E27FC236}">
                    <a16:creationId xmlns:a16="http://schemas.microsoft.com/office/drawing/2014/main" id="{2634E428-D790-1100-DB4C-5A8DFC0C5E1E}"/>
                  </a:ext>
                </a:extLst>
              </p:cNvPr>
              <p:cNvSpPr/>
              <p:nvPr/>
            </p:nvSpPr>
            <p:spPr>
              <a:xfrm>
                <a:off x="6061659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5" name="Freihandform: Form 214">
                <a:extLst>
                  <a:ext uri="{FF2B5EF4-FFF2-40B4-BE49-F238E27FC236}">
                    <a16:creationId xmlns:a16="http://schemas.microsoft.com/office/drawing/2014/main" id="{59D0CCAA-EF6B-4F40-17A4-A4A2109C2F09}"/>
                  </a:ext>
                </a:extLst>
              </p:cNvPr>
              <p:cNvSpPr/>
              <p:nvPr/>
            </p:nvSpPr>
            <p:spPr>
              <a:xfrm>
                <a:off x="6037942" y="2158370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5" name="Grafik 89">
              <a:extLst>
                <a:ext uri="{FF2B5EF4-FFF2-40B4-BE49-F238E27FC236}">
                  <a16:creationId xmlns:a16="http://schemas.microsoft.com/office/drawing/2014/main" id="{CE66AFE9-6C74-1544-0A7A-9A0AA6B428DF}"/>
                </a:ext>
              </a:extLst>
            </p:cNvPr>
            <p:cNvGrpSpPr/>
            <p:nvPr/>
          </p:nvGrpSpPr>
          <p:grpSpPr>
            <a:xfrm>
              <a:off x="6011930" y="2136311"/>
              <a:ext cx="47561" cy="44118"/>
              <a:chOff x="6011930" y="2136311"/>
              <a:chExt cx="47561" cy="44118"/>
            </a:xfrm>
          </p:grpSpPr>
          <p:sp>
            <p:nvSpPr>
              <p:cNvPr id="212" name="Freihandform: Form 211">
                <a:extLst>
                  <a:ext uri="{FF2B5EF4-FFF2-40B4-BE49-F238E27FC236}">
                    <a16:creationId xmlns:a16="http://schemas.microsoft.com/office/drawing/2014/main" id="{B04BCC67-529D-D962-B796-0E51D3198886}"/>
                  </a:ext>
                </a:extLst>
              </p:cNvPr>
              <p:cNvSpPr/>
              <p:nvPr/>
            </p:nvSpPr>
            <p:spPr>
              <a:xfrm>
                <a:off x="6035774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3" name="Freihandform: Form 212">
                <a:extLst>
                  <a:ext uri="{FF2B5EF4-FFF2-40B4-BE49-F238E27FC236}">
                    <a16:creationId xmlns:a16="http://schemas.microsoft.com/office/drawing/2014/main" id="{8C0BA0C2-38A6-FD90-6C4E-22AAA64291E1}"/>
                  </a:ext>
                </a:extLst>
              </p:cNvPr>
              <p:cNvSpPr/>
              <p:nvPr/>
            </p:nvSpPr>
            <p:spPr>
              <a:xfrm>
                <a:off x="6011930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6" name="Grafik 89">
              <a:extLst>
                <a:ext uri="{FF2B5EF4-FFF2-40B4-BE49-F238E27FC236}">
                  <a16:creationId xmlns:a16="http://schemas.microsoft.com/office/drawing/2014/main" id="{5760DFBE-9C8C-A03C-57E5-CF90BD37F4D1}"/>
                </a:ext>
              </a:extLst>
            </p:cNvPr>
            <p:cNvGrpSpPr/>
            <p:nvPr/>
          </p:nvGrpSpPr>
          <p:grpSpPr>
            <a:xfrm>
              <a:off x="5983113" y="2136311"/>
              <a:ext cx="47561" cy="44118"/>
              <a:chOff x="5983113" y="2136311"/>
              <a:chExt cx="47561" cy="44118"/>
            </a:xfrm>
          </p:grpSpPr>
          <p:sp>
            <p:nvSpPr>
              <p:cNvPr id="210" name="Freihandform: Form 209">
                <a:extLst>
                  <a:ext uri="{FF2B5EF4-FFF2-40B4-BE49-F238E27FC236}">
                    <a16:creationId xmlns:a16="http://schemas.microsoft.com/office/drawing/2014/main" id="{BAE53FB4-F137-D2BD-F664-B2BF876D2641}"/>
                  </a:ext>
                </a:extLst>
              </p:cNvPr>
              <p:cNvSpPr/>
              <p:nvPr/>
            </p:nvSpPr>
            <p:spPr>
              <a:xfrm>
                <a:off x="6006830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1" name="Freihandform: Form 210">
                <a:extLst>
                  <a:ext uri="{FF2B5EF4-FFF2-40B4-BE49-F238E27FC236}">
                    <a16:creationId xmlns:a16="http://schemas.microsoft.com/office/drawing/2014/main" id="{069C2E10-7316-87BE-EEF2-B81D48FA5037}"/>
                  </a:ext>
                </a:extLst>
              </p:cNvPr>
              <p:cNvSpPr/>
              <p:nvPr/>
            </p:nvSpPr>
            <p:spPr>
              <a:xfrm>
                <a:off x="5983113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7" name="Grafik 89">
              <a:extLst>
                <a:ext uri="{FF2B5EF4-FFF2-40B4-BE49-F238E27FC236}">
                  <a16:creationId xmlns:a16="http://schemas.microsoft.com/office/drawing/2014/main" id="{3D14B079-0271-BFF6-40C3-F12EBCA65DF7}"/>
                </a:ext>
              </a:extLst>
            </p:cNvPr>
            <p:cNvGrpSpPr/>
            <p:nvPr/>
          </p:nvGrpSpPr>
          <p:grpSpPr>
            <a:xfrm>
              <a:off x="5947283" y="2136311"/>
              <a:ext cx="47561" cy="44118"/>
              <a:chOff x="5947283" y="2136311"/>
              <a:chExt cx="47561" cy="44118"/>
            </a:xfrm>
          </p:grpSpPr>
          <p:sp>
            <p:nvSpPr>
              <p:cNvPr id="208" name="Freihandform: Form 207">
                <a:extLst>
                  <a:ext uri="{FF2B5EF4-FFF2-40B4-BE49-F238E27FC236}">
                    <a16:creationId xmlns:a16="http://schemas.microsoft.com/office/drawing/2014/main" id="{CAAA21B0-2C82-0555-3830-6B47477077C3}"/>
                  </a:ext>
                </a:extLst>
              </p:cNvPr>
              <p:cNvSpPr/>
              <p:nvPr/>
            </p:nvSpPr>
            <p:spPr>
              <a:xfrm>
                <a:off x="5970999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9" name="Freihandform: Form 208">
                <a:extLst>
                  <a:ext uri="{FF2B5EF4-FFF2-40B4-BE49-F238E27FC236}">
                    <a16:creationId xmlns:a16="http://schemas.microsoft.com/office/drawing/2014/main" id="{A3A5DE00-D60C-25AC-FF6D-98EEEA72104C}"/>
                  </a:ext>
                </a:extLst>
              </p:cNvPr>
              <p:cNvSpPr/>
              <p:nvPr/>
            </p:nvSpPr>
            <p:spPr>
              <a:xfrm>
                <a:off x="5947283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89">
              <a:extLst>
                <a:ext uri="{FF2B5EF4-FFF2-40B4-BE49-F238E27FC236}">
                  <a16:creationId xmlns:a16="http://schemas.microsoft.com/office/drawing/2014/main" id="{F3D84CA3-2F57-AB30-2D28-4531EC9085FE}"/>
                </a:ext>
              </a:extLst>
            </p:cNvPr>
            <p:cNvGrpSpPr/>
            <p:nvPr/>
          </p:nvGrpSpPr>
          <p:grpSpPr>
            <a:xfrm>
              <a:off x="5938357" y="2136311"/>
              <a:ext cx="47561" cy="44118"/>
              <a:chOff x="5938357" y="2136311"/>
              <a:chExt cx="47561" cy="44118"/>
            </a:xfrm>
          </p:grpSpPr>
          <p:sp>
            <p:nvSpPr>
              <p:cNvPr id="206" name="Freihandform: Form 205">
                <a:extLst>
                  <a:ext uri="{FF2B5EF4-FFF2-40B4-BE49-F238E27FC236}">
                    <a16:creationId xmlns:a16="http://schemas.microsoft.com/office/drawing/2014/main" id="{F9A7179F-F421-1282-15EC-2D747904CD73}"/>
                  </a:ext>
                </a:extLst>
              </p:cNvPr>
              <p:cNvSpPr/>
              <p:nvPr/>
            </p:nvSpPr>
            <p:spPr>
              <a:xfrm>
                <a:off x="5962074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Freihandform: Form 206">
                <a:extLst>
                  <a:ext uri="{FF2B5EF4-FFF2-40B4-BE49-F238E27FC236}">
                    <a16:creationId xmlns:a16="http://schemas.microsoft.com/office/drawing/2014/main" id="{38AC171B-CA7C-A055-59F5-5F565B492420}"/>
                  </a:ext>
                </a:extLst>
              </p:cNvPr>
              <p:cNvSpPr/>
              <p:nvPr/>
            </p:nvSpPr>
            <p:spPr>
              <a:xfrm>
                <a:off x="5938357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9" name="Grafik 89">
              <a:extLst>
                <a:ext uri="{FF2B5EF4-FFF2-40B4-BE49-F238E27FC236}">
                  <a16:creationId xmlns:a16="http://schemas.microsoft.com/office/drawing/2014/main" id="{8E830178-DFB7-6AFD-9329-770C318B9BF4}"/>
                </a:ext>
              </a:extLst>
            </p:cNvPr>
            <p:cNvGrpSpPr/>
            <p:nvPr/>
          </p:nvGrpSpPr>
          <p:grpSpPr>
            <a:xfrm>
              <a:off x="5920888" y="2136311"/>
              <a:ext cx="47433" cy="44118"/>
              <a:chOff x="5920888" y="2136311"/>
              <a:chExt cx="47433" cy="44118"/>
            </a:xfrm>
          </p:grpSpPr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3E0B3C9C-0CE6-DFB6-379D-E60E229DB9AC}"/>
                  </a:ext>
                </a:extLst>
              </p:cNvPr>
              <p:cNvSpPr/>
              <p:nvPr/>
            </p:nvSpPr>
            <p:spPr>
              <a:xfrm>
                <a:off x="5944605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BC2F82FF-A5F2-013D-BFE9-F0EDCC952EB8}"/>
                  </a:ext>
                </a:extLst>
              </p:cNvPr>
              <p:cNvSpPr/>
              <p:nvPr/>
            </p:nvSpPr>
            <p:spPr>
              <a:xfrm>
                <a:off x="5920888" y="2158370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0" name="Grafik 89">
              <a:extLst>
                <a:ext uri="{FF2B5EF4-FFF2-40B4-BE49-F238E27FC236}">
                  <a16:creationId xmlns:a16="http://schemas.microsoft.com/office/drawing/2014/main" id="{0830D258-54A0-D09E-A397-300804C96AD9}"/>
                </a:ext>
              </a:extLst>
            </p:cNvPr>
            <p:cNvGrpSpPr/>
            <p:nvPr/>
          </p:nvGrpSpPr>
          <p:grpSpPr>
            <a:xfrm>
              <a:off x="5889903" y="2136311"/>
              <a:ext cx="47561" cy="44118"/>
              <a:chOff x="5889903" y="2136311"/>
              <a:chExt cx="47561" cy="44118"/>
            </a:xfrm>
          </p:grpSpPr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EE0B4CA4-561B-F4FC-B1D2-B88BC028ABE2}"/>
                  </a:ext>
                </a:extLst>
              </p:cNvPr>
              <p:cNvSpPr/>
              <p:nvPr/>
            </p:nvSpPr>
            <p:spPr>
              <a:xfrm>
                <a:off x="5913620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" name="Freihandform: Form 202">
                <a:extLst>
                  <a:ext uri="{FF2B5EF4-FFF2-40B4-BE49-F238E27FC236}">
                    <a16:creationId xmlns:a16="http://schemas.microsoft.com/office/drawing/2014/main" id="{28A45957-8DEE-B29C-745C-E6BBC6C5252E}"/>
                  </a:ext>
                </a:extLst>
              </p:cNvPr>
              <p:cNvSpPr/>
              <p:nvPr/>
            </p:nvSpPr>
            <p:spPr>
              <a:xfrm>
                <a:off x="5889903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1" name="Grafik 89">
              <a:extLst>
                <a:ext uri="{FF2B5EF4-FFF2-40B4-BE49-F238E27FC236}">
                  <a16:creationId xmlns:a16="http://schemas.microsoft.com/office/drawing/2014/main" id="{8BE16CFC-5F11-BF52-B287-123A76BE1682}"/>
                </a:ext>
              </a:extLst>
            </p:cNvPr>
            <p:cNvGrpSpPr/>
            <p:nvPr/>
          </p:nvGrpSpPr>
          <p:grpSpPr>
            <a:xfrm>
              <a:off x="5870012" y="2136311"/>
              <a:ext cx="47433" cy="44118"/>
              <a:chOff x="5870012" y="2136311"/>
              <a:chExt cx="47433" cy="44118"/>
            </a:xfrm>
          </p:grpSpPr>
          <p:sp>
            <p:nvSpPr>
              <p:cNvPr id="200" name="Freihandform: Form 199">
                <a:extLst>
                  <a:ext uri="{FF2B5EF4-FFF2-40B4-BE49-F238E27FC236}">
                    <a16:creationId xmlns:a16="http://schemas.microsoft.com/office/drawing/2014/main" id="{C40F37BC-A66D-C617-816F-7C77FF838FB4}"/>
                  </a:ext>
                </a:extLst>
              </p:cNvPr>
              <p:cNvSpPr/>
              <p:nvPr/>
            </p:nvSpPr>
            <p:spPr>
              <a:xfrm>
                <a:off x="5893729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Freihandform: Form 200">
                <a:extLst>
                  <a:ext uri="{FF2B5EF4-FFF2-40B4-BE49-F238E27FC236}">
                    <a16:creationId xmlns:a16="http://schemas.microsoft.com/office/drawing/2014/main" id="{3F329777-6C3A-CDC0-0822-81B4EDB6D2B8}"/>
                  </a:ext>
                </a:extLst>
              </p:cNvPr>
              <p:cNvSpPr/>
              <p:nvPr/>
            </p:nvSpPr>
            <p:spPr>
              <a:xfrm>
                <a:off x="5870012" y="2158370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2" name="Grafik 89">
              <a:extLst>
                <a:ext uri="{FF2B5EF4-FFF2-40B4-BE49-F238E27FC236}">
                  <a16:creationId xmlns:a16="http://schemas.microsoft.com/office/drawing/2014/main" id="{2FF07F12-19CC-A742-DBAC-243753E07A69}"/>
                </a:ext>
              </a:extLst>
            </p:cNvPr>
            <p:cNvGrpSpPr/>
            <p:nvPr/>
          </p:nvGrpSpPr>
          <p:grpSpPr>
            <a:xfrm>
              <a:off x="5861851" y="2136311"/>
              <a:ext cx="47561" cy="44118"/>
              <a:chOff x="5861851" y="2136311"/>
              <a:chExt cx="47561" cy="44118"/>
            </a:xfrm>
          </p:grpSpPr>
          <p:sp>
            <p:nvSpPr>
              <p:cNvPr id="198" name="Freihandform: Form 197">
                <a:extLst>
                  <a:ext uri="{FF2B5EF4-FFF2-40B4-BE49-F238E27FC236}">
                    <a16:creationId xmlns:a16="http://schemas.microsoft.com/office/drawing/2014/main" id="{DE916188-2B26-B404-1E84-A8A9A89BA385}"/>
                  </a:ext>
                </a:extLst>
              </p:cNvPr>
              <p:cNvSpPr/>
              <p:nvPr/>
            </p:nvSpPr>
            <p:spPr>
              <a:xfrm>
                <a:off x="5885568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Freihandform: Form 198">
                <a:extLst>
                  <a:ext uri="{FF2B5EF4-FFF2-40B4-BE49-F238E27FC236}">
                    <a16:creationId xmlns:a16="http://schemas.microsoft.com/office/drawing/2014/main" id="{DC304D59-7FC4-80DE-CBBA-AC387BF455A1}"/>
                  </a:ext>
                </a:extLst>
              </p:cNvPr>
              <p:cNvSpPr/>
              <p:nvPr/>
            </p:nvSpPr>
            <p:spPr>
              <a:xfrm>
                <a:off x="5861851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3" name="Grafik 89">
              <a:extLst>
                <a:ext uri="{FF2B5EF4-FFF2-40B4-BE49-F238E27FC236}">
                  <a16:creationId xmlns:a16="http://schemas.microsoft.com/office/drawing/2014/main" id="{E64C9247-9079-2798-43D3-6294D4E7A272}"/>
                </a:ext>
              </a:extLst>
            </p:cNvPr>
            <p:cNvGrpSpPr/>
            <p:nvPr/>
          </p:nvGrpSpPr>
          <p:grpSpPr>
            <a:xfrm>
              <a:off x="5853308" y="2136311"/>
              <a:ext cx="47561" cy="44118"/>
              <a:chOff x="5853308" y="2136311"/>
              <a:chExt cx="47561" cy="44118"/>
            </a:xfrm>
          </p:grpSpPr>
          <p:sp>
            <p:nvSpPr>
              <p:cNvPr id="196" name="Freihandform: Form 195">
                <a:extLst>
                  <a:ext uri="{FF2B5EF4-FFF2-40B4-BE49-F238E27FC236}">
                    <a16:creationId xmlns:a16="http://schemas.microsoft.com/office/drawing/2014/main" id="{2B3A1B60-40F3-F61B-E896-C31A510A03A9}"/>
                  </a:ext>
                </a:extLst>
              </p:cNvPr>
              <p:cNvSpPr/>
              <p:nvPr/>
            </p:nvSpPr>
            <p:spPr>
              <a:xfrm>
                <a:off x="5877025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Freihandform: Form 196">
                <a:extLst>
                  <a:ext uri="{FF2B5EF4-FFF2-40B4-BE49-F238E27FC236}">
                    <a16:creationId xmlns:a16="http://schemas.microsoft.com/office/drawing/2014/main" id="{27FBE565-56F5-0F27-C538-BBA8794AF467}"/>
                  </a:ext>
                </a:extLst>
              </p:cNvPr>
              <p:cNvSpPr/>
              <p:nvPr/>
            </p:nvSpPr>
            <p:spPr>
              <a:xfrm>
                <a:off x="5853308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4" name="Grafik 89">
              <a:extLst>
                <a:ext uri="{FF2B5EF4-FFF2-40B4-BE49-F238E27FC236}">
                  <a16:creationId xmlns:a16="http://schemas.microsoft.com/office/drawing/2014/main" id="{8EC5C1BE-4504-B527-09A0-2C8E2F0EB5A0}"/>
                </a:ext>
              </a:extLst>
            </p:cNvPr>
            <p:cNvGrpSpPr/>
            <p:nvPr/>
          </p:nvGrpSpPr>
          <p:grpSpPr>
            <a:xfrm>
              <a:off x="5822323" y="2136311"/>
              <a:ext cx="47561" cy="44118"/>
              <a:chOff x="5822323" y="2136311"/>
              <a:chExt cx="47561" cy="44118"/>
            </a:xfrm>
          </p:grpSpPr>
          <p:sp>
            <p:nvSpPr>
              <p:cNvPr id="194" name="Freihandform: Form 193">
                <a:extLst>
                  <a:ext uri="{FF2B5EF4-FFF2-40B4-BE49-F238E27FC236}">
                    <a16:creationId xmlns:a16="http://schemas.microsoft.com/office/drawing/2014/main" id="{FD5A2F38-401B-6709-879A-EC6CACC6DC87}"/>
                  </a:ext>
                </a:extLst>
              </p:cNvPr>
              <p:cNvSpPr/>
              <p:nvPr/>
            </p:nvSpPr>
            <p:spPr>
              <a:xfrm>
                <a:off x="5846168" y="213631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" name="Freihandform: Form 194">
                <a:extLst>
                  <a:ext uri="{FF2B5EF4-FFF2-40B4-BE49-F238E27FC236}">
                    <a16:creationId xmlns:a16="http://schemas.microsoft.com/office/drawing/2014/main" id="{51962E5F-406D-8E58-3647-959EB38DB9A3}"/>
                  </a:ext>
                </a:extLst>
              </p:cNvPr>
              <p:cNvSpPr/>
              <p:nvPr/>
            </p:nvSpPr>
            <p:spPr>
              <a:xfrm>
                <a:off x="5822323" y="215837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5" name="Grafik 89">
              <a:extLst>
                <a:ext uri="{FF2B5EF4-FFF2-40B4-BE49-F238E27FC236}">
                  <a16:creationId xmlns:a16="http://schemas.microsoft.com/office/drawing/2014/main" id="{154EBD8B-78B9-D956-72FA-9FD31D3206FA}"/>
                </a:ext>
              </a:extLst>
            </p:cNvPr>
            <p:cNvGrpSpPr/>
            <p:nvPr/>
          </p:nvGrpSpPr>
          <p:grpSpPr>
            <a:xfrm>
              <a:off x="5791466" y="2118077"/>
              <a:ext cx="47433" cy="44118"/>
              <a:chOff x="5791466" y="2118077"/>
              <a:chExt cx="47433" cy="44118"/>
            </a:xfrm>
          </p:grpSpPr>
          <p:sp>
            <p:nvSpPr>
              <p:cNvPr id="192" name="Freihandform: Form 191">
                <a:extLst>
                  <a:ext uri="{FF2B5EF4-FFF2-40B4-BE49-F238E27FC236}">
                    <a16:creationId xmlns:a16="http://schemas.microsoft.com/office/drawing/2014/main" id="{8144ECF7-D3C7-9574-6AEE-CBAC0E78D047}"/>
                  </a:ext>
                </a:extLst>
              </p:cNvPr>
              <p:cNvSpPr/>
              <p:nvPr/>
            </p:nvSpPr>
            <p:spPr>
              <a:xfrm>
                <a:off x="5815183" y="211807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3" name="Freihandform: Form 192">
                <a:extLst>
                  <a:ext uri="{FF2B5EF4-FFF2-40B4-BE49-F238E27FC236}">
                    <a16:creationId xmlns:a16="http://schemas.microsoft.com/office/drawing/2014/main" id="{7010211E-9969-8144-6DF1-00EB377A233C}"/>
                  </a:ext>
                </a:extLst>
              </p:cNvPr>
              <p:cNvSpPr/>
              <p:nvPr/>
            </p:nvSpPr>
            <p:spPr>
              <a:xfrm>
                <a:off x="5791466" y="2140136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6" name="Grafik 89">
              <a:extLst>
                <a:ext uri="{FF2B5EF4-FFF2-40B4-BE49-F238E27FC236}">
                  <a16:creationId xmlns:a16="http://schemas.microsoft.com/office/drawing/2014/main" id="{16A103A0-E4FF-A75D-F7AC-5E5B0DA37A3F}"/>
                </a:ext>
              </a:extLst>
            </p:cNvPr>
            <p:cNvGrpSpPr/>
            <p:nvPr/>
          </p:nvGrpSpPr>
          <p:grpSpPr>
            <a:xfrm>
              <a:off x="5782030" y="2118077"/>
              <a:ext cx="47561" cy="44118"/>
              <a:chOff x="5782030" y="2118077"/>
              <a:chExt cx="47561" cy="44118"/>
            </a:xfrm>
          </p:grpSpPr>
          <p:sp>
            <p:nvSpPr>
              <p:cNvPr id="190" name="Freihandform: Form 189">
                <a:extLst>
                  <a:ext uri="{FF2B5EF4-FFF2-40B4-BE49-F238E27FC236}">
                    <a16:creationId xmlns:a16="http://schemas.microsoft.com/office/drawing/2014/main" id="{F8219BA1-B737-BA40-3E19-7E6960ADB726}"/>
                  </a:ext>
                </a:extLst>
              </p:cNvPr>
              <p:cNvSpPr/>
              <p:nvPr/>
            </p:nvSpPr>
            <p:spPr>
              <a:xfrm>
                <a:off x="5805875" y="211807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" name="Freihandform: Form 190">
                <a:extLst>
                  <a:ext uri="{FF2B5EF4-FFF2-40B4-BE49-F238E27FC236}">
                    <a16:creationId xmlns:a16="http://schemas.microsoft.com/office/drawing/2014/main" id="{1995E1F7-F1C3-FCF1-C52F-92D41299A59B}"/>
                  </a:ext>
                </a:extLst>
              </p:cNvPr>
              <p:cNvSpPr/>
              <p:nvPr/>
            </p:nvSpPr>
            <p:spPr>
              <a:xfrm>
                <a:off x="5782030" y="2140136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7" name="Grafik 89">
              <a:extLst>
                <a:ext uri="{FF2B5EF4-FFF2-40B4-BE49-F238E27FC236}">
                  <a16:creationId xmlns:a16="http://schemas.microsoft.com/office/drawing/2014/main" id="{5307AC7C-C05C-14FE-2B46-4147073AF0E0}"/>
                </a:ext>
              </a:extLst>
            </p:cNvPr>
            <p:cNvGrpSpPr/>
            <p:nvPr/>
          </p:nvGrpSpPr>
          <p:grpSpPr>
            <a:xfrm>
              <a:off x="5767622" y="2118077"/>
              <a:ext cx="47561" cy="44118"/>
              <a:chOff x="5767622" y="2118077"/>
              <a:chExt cx="47561" cy="44118"/>
            </a:xfrm>
          </p:grpSpPr>
          <p:sp>
            <p:nvSpPr>
              <p:cNvPr id="188" name="Freihandform: Form 187">
                <a:extLst>
                  <a:ext uri="{FF2B5EF4-FFF2-40B4-BE49-F238E27FC236}">
                    <a16:creationId xmlns:a16="http://schemas.microsoft.com/office/drawing/2014/main" id="{BE1708C6-F677-E413-E335-85FFA12EE33A}"/>
                  </a:ext>
                </a:extLst>
              </p:cNvPr>
              <p:cNvSpPr/>
              <p:nvPr/>
            </p:nvSpPr>
            <p:spPr>
              <a:xfrm>
                <a:off x="5791466" y="211807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" name="Freihandform: Form 188">
                <a:extLst>
                  <a:ext uri="{FF2B5EF4-FFF2-40B4-BE49-F238E27FC236}">
                    <a16:creationId xmlns:a16="http://schemas.microsoft.com/office/drawing/2014/main" id="{30572757-F8D5-523F-FBB8-8D55DB5FE078}"/>
                  </a:ext>
                </a:extLst>
              </p:cNvPr>
              <p:cNvSpPr/>
              <p:nvPr/>
            </p:nvSpPr>
            <p:spPr>
              <a:xfrm>
                <a:off x="5767622" y="2140136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8" name="Grafik 89">
              <a:extLst>
                <a:ext uri="{FF2B5EF4-FFF2-40B4-BE49-F238E27FC236}">
                  <a16:creationId xmlns:a16="http://schemas.microsoft.com/office/drawing/2014/main" id="{629EE10F-5B80-16A0-64DB-176AB7E95841}"/>
                </a:ext>
              </a:extLst>
            </p:cNvPr>
            <p:cNvGrpSpPr/>
            <p:nvPr/>
          </p:nvGrpSpPr>
          <p:grpSpPr>
            <a:xfrm>
              <a:off x="5760099" y="2118077"/>
              <a:ext cx="47561" cy="44118"/>
              <a:chOff x="5760099" y="2118077"/>
              <a:chExt cx="47561" cy="44118"/>
            </a:xfrm>
          </p:grpSpPr>
          <p:sp>
            <p:nvSpPr>
              <p:cNvPr id="186" name="Freihandform: Form 185">
                <a:extLst>
                  <a:ext uri="{FF2B5EF4-FFF2-40B4-BE49-F238E27FC236}">
                    <a16:creationId xmlns:a16="http://schemas.microsoft.com/office/drawing/2014/main" id="{088998D6-E320-EF4F-7C0D-E578D4A68E39}"/>
                  </a:ext>
                </a:extLst>
              </p:cNvPr>
              <p:cNvSpPr/>
              <p:nvPr/>
            </p:nvSpPr>
            <p:spPr>
              <a:xfrm>
                <a:off x="5783815" y="211807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Freihandform: Form 186">
                <a:extLst>
                  <a:ext uri="{FF2B5EF4-FFF2-40B4-BE49-F238E27FC236}">
                    <a16:creationId xmlns:a16="http://schemas.microsoft.com/office/drawing/2014/main" id="{D5CE87EE-AA9E-E20E-92DB-468EF173F7C4}"/>
                  </a:ext>
                </a:extLst>
              </p:cNvPr>
              <p:cNvSpPr/>
              <p:nvPr/>
            </p:nvSpPr>
            <p:spPr>
              <a:xfrm>
                <a:off x="5760099" y="2140136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9" name="Grafik 89">
              <a:extLst>
                <a:ext uri="{FF2B5EF4-FFF2-40B4-BE49-F238E27FC236}">
                  <a16:creationId xmlns:a16="http://schemas.microsoft.com/office/drawing/2014/main" id="{FA726925-442E-7E53-8A28-89C70AFCE3A9}"/>
                </a:ext>
              </a:extLst>
            </p:cNvPr>
            <p:cNvGrpSpPr/>
            <p:nvPr/>
          </p:nvGrpSpPr>
          <p:grpSpPr>
            <a:xfrm>
              <a:off x="5736382" y="2118077"/>
              <a:ext cx="47433" cy="44118"/>
              <a:chOff x="5736382" y="2118077"/>
              <a:chExt cx="47433" cy="44118"/>
            </a:xfrm>
          </p:grpSpPr>
          <p:sp>
            <p:nvSpPr>
              <p:cNvPr id="184" name="Freihandform: Form 183">
                <a:extLst>
                  <a:ext uri="{FF2B5EF4-FFF2-40B4-BE49-F238E27FC236}">
                    <a16:creationId xmlns:a16="http://schemas.microsoft.com/office/drawing/2014/main" id="{1F0D2DB1-7C53-57C4-3B84-A9819F4A377F}"/>
                  </a:ext>
                </a:extLst>
              </p:cNvPr>
              <p:cNvSpPr/>
              <p:nvPr/>
            </p:nvSpPr>
            <p:spPr>
              <a:xfrm>
                <a:off x="5760099" y="211807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" name="Freihandform: Form 184">
                <a:extLst>
                  <a:ext uri="{FF2B5EF4-FFF2-40B4-BE49-F238E27FC236}">
                    <a16:creationId xmlns:a16="http://schemas.microsoft.com/office/drawing/2014/main" id="{F1172659-72FF-2603-F40B-15250B113CC1}"/>
                  </a:ext>
                </a:extLst>
              </p:cNvPr>
              <p:cNvSpPr/>
              <p:nvPr/>
            </p:nvSpPr>
            <p:spPr>
              <a:xfrm>
                <a:off x="5736382" y="2140136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0" name="Grafik 89">
              <a:extLst>
                <a:ext uri="{FF2B5EF4-FFF2-40B4-BE49-F238E27FC236}">
                  <a16:creationId xmlns:a16="http://schemas.microsoft.com/office/drawing/2014/main" id="{DCAF38A5-CC5E-D969-19A0-412F6CEEAC9B}"/>
                </a:ext>
              </a:extLst>
            </p:cNvPr>
            <p:cNvGrpSpPr/>
            <p:nvPr/>
          </p:nvGrpSpPr>
          <p:grpSpPr>
            <a:xfrm>
              <a:off x="5689331" y="2118077"/>
              <a:ext cx="47433" cy="44118"/>
              <a:chOff x="5689331" y="2118077"/>
              <a:chExt cx="47433" cy="44118"/>
            </a:xfrm>
          </p:grpSpPr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D63B01FC-9E51-2F31-5056-5671E55FCC1D}"/>
                  </a:ext>
                </a:extLst>
              </p:cNvPr>
              <p:cNvSpPr/>
              <p:nvPr/>
            </p:nvSpPr>
            <p:spPr>
              <a:xfrm>
                <a:off x="5713048" y="211807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" name="Freihandform: Form 182">
                <a:extLst>
                  <a:ext uri="{FF2B5EF4-FFF2-40B4-BE49-F238E27FC236}">
                    <a16:creationId xmlns:a16="http://schemas.microsoft.com/office/drawing/2014/main" id="{F413F639-57CF-3E39-A049-F6427C096CE8}"/>
                  </a:ext>
                </a:extLst>
              </p:cNvPr>
              <p:cNvSpPr/>
              <p:nvPr/>
            </p:nvSpPr>
            <p:spPr>
              <a:xfrm>
                <a:off x="5689331" y="2140136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1" name="Grafik 89">
              <a:extLst>
                <a:ext uri="{FF2B5EF4-FFF2-40B4-BE49-F238E27FC236}">
                  <a16:creationId xmlns:a16="http://schemas.microsoft.com/office/drawing/2014/main" id="{8CEB7ECD-9AC5-1F0D-1A06-6DDD9B91A571}"/>
                </a:ext>
              </a:extLst>
            </p:cNvPr>
            <p:cNvGrpSpPr/>
            <p:nvPr/>
          </p:nvGrpSpPr>
          <p:grpSpPr>
            <a:xfrm>
              <a:off x="5669312" y="2118077"/>
              <a:ext cx="47561" cy="44118"/>
              <a:chOff x="5669312" y="2118077"/>
              <a:chExt cx="47561" cy="44118"/>
            </a:xfrm>
          </p:grpSpPr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3B042BED-185E-9924-40C6-8A72CA35B0FB}"/>
                  </a:ext>
                </a:extLst>
              </p:cNvPr>
              <p:cNvSpPr/>
              <p:nvPr/>
            </p:nvSpPr>
            <p:spPr>
              <a:xfrm>
                <a:off x="5693156" y="211807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" name="Freihandform: Form 180">
                <a:extLst>
                  <a:ext uri="{FF2B5EF4-FFF2-40B4-BE49-F238E27FC236}">
                    <a16:creationId xmlns:a16="http://schemas.microsoft.com/office/drawing/2014/main" id="{28AE2113-823D-C739-3378-BBACA9E8B741}"/>
                  </a:ext>
                </a:extLst>
              </p:cNvPr>
              <p:cNvSpPr/>
              <p:nvPr/>
            </p:nvSpPr>
            <p:spPr>
              <a:xfrm>
                <a:off x="5669312" y="2140136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2" name="Grafik 89">
              <a:extLst>
                <a:ext uri="{FF2B5EF4-FFF2-40B4-BE49-F238E27FC236}">
                  <a16:creationId xmlns:a16="http://schemas.microsoft.com/office/drawing/2014/main" id="{5A941B07-C220-9EBE-EF69-DB78CABB86B3}"/>
                </a:ext>
              </a:extLst>
            </p:cNvPr>
            <p:cNvGrpSpPr/>
            <p:nvPr/>
          </p:nvGrpSpPr>
          <p:grpSpPr>
            <a:xfrm>
              <a:off x="5637562" y="2118077"/>
              <a:ext cx="47561" cy="44118"/>
              <a:chOff x="5637562" y="2118077"/>
              <a:chExt cx="47561" cy="44118"/>
            </a:xfrm>
          </p:grpSpPr>
          <p:sp>
            <p:nvSpPr>
              <p:cNvPr id="178" name="Freihandform: Form 177">
                <a:extLst>
                  <a:ext uri="{FF2B5EF4-FFF2-40B4-BE49-F238E27FC236}">
                    <a16:creationId xmlns:a16="http://schemas.microsoft.com/office/drawing/2014/main" id="{7A44264A-6E6E-8841-5534-3E6E3C004F18}"/>
                  </a:ext>
                </a:extLst>
              </p:cNvPr>
              <p:cNvSpPr/>
              <p:nvPr/>
            </p:nvSpPr>
            <p:spPr>
              <a:xfrm>
                <a:off x="5661406" y="211807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" name="Freihandform: Form 178">
                <a:extLst>
                  <a:ext uri="{FF2B5EF4-FFF2-40B4-BE49-F238E27FC236}">
                    <a16:creationId xmlns:a16="http://schemas.microsoft.com/office/drawing/2014/main" id="{EB56DFC9-ADBF-AAF4-2541-32150ED805B9}"/>
                  </a:ext>
                </a:extLst>
              </p:cNvPr>
              <p:cNvSpPr/>
              <p:nvPr/>
            </p:nvSpPr>
            <p:spPr>
              <a:xfrm>
                <a:off x="5637562" y="2140136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3" name="Grafik 89">
              <a:extLst>
                <a:ext uri="{FF2B5EF4-FFF2-40B4-BE49-F238E27FC236}">
                  <a16:creationId xmlns:a16="http://schemas.microsoft.com/office/drawing/2014/main" id="{66177364-1853-3E1B-542D-551C1673567F}"/>
                </a:ext>
              </a:extLst>
            </p:cNvPr>
            <p:cNvGrpSpPr/>
            <p:nvPr/>
          </p:nvGrpSpPr>
          <p:grpSpPr>
            <a:xfrm>
              <a:off x="5602114" y="2118077"/>
              <a:ext cx="47433" cy="44118"/>
              <a:chOff x="5602114" y="2118077"/>
              <a:chExt cx="47433" cy="44118"/>
            </a:xfrm>
          </p:grpSpPr>
          <p:sp>
            <p:nvSpPr>
              <p:cNvPr id="176" name="Freihandform: Form 175">
                <a:extLst>
                  <a:ext uri="{FF2B5EF4-FFF2-40B4-BE49-F238E27FC236}">
                    <a16:creationId xmlns:a16="http://schemas.microsoft.com/office/drawing/2014/main" id="{52B9562E-8375-BB75-49C5-4DB08EEE18C4}"/>
                  </a:ext>
                </a:extLst>
              </p:cNvPr>
              <p:cNvSpPr/>
              <p:nvPr/>
            </p:nvSpPr>
            <p:spPr>
              <a:xfrm>
                <a:off x="5625831" y="211807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" name="Freihandform: Form 176">
                <a:extLst>
                  <a:ext uri="{FF2B5EF4-FFF2-40B4-BE49-F238E27FC236}">
                    <a16:creationId xmlns:a16="http://schemas.microsoft.com/office/drawing/2014/main" id="{B7CE8F52-FA9B-3256-3958-89C8996A06C0}"/>
                  </a:ext>
                </a:extLst>
              </p:cNvPr>
              <p:cNvSpPr/>
              <p:nvPr/>
            </p:nvSpPr>
            <p:spPr>
              <a:xfrm>
                <a:off x="5602114" y="2140136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4" name="Grafik 89">
              <a:extLst>
                <a:ext uri="{FF2B5EF4-FFF2-40B4-BE49-F238E27FC236}">
                  <a16:creationId xmlns:a16="http://schemas.microsoft.com/office/drawing/2014/main" id="{59B3FF2B-C60A-2631-D64F-B078AF74FCFC}"/>
                </a:ext>
              </a:extLst>
            </p:cNvPr>
            <p:cNvGrpSpPr/>
            <p:nvPr/>
          </p:nvGrpSpPr>
          <p:grpSpPr>
            <a:xfrm>
              <a:off x="5554553" y="2105581"/>
              <a:ext cx="47561" cy="44118"/>
              <a:chOff x="5554553" y="2105581"/>
              <a:chExt cx="47561" cy="44118"/>
            </a:xfrm>
          </p:grpSpPr>
          <p:sp>
            <p:nvSpPr>
              <p:cNvPr id="174" name="Freihandform: Form 173">
                <a:extLst>
                  <a:ext uri="{FF2B5EF4-FFF2-40B4-BE49-F238E27FC236}">
                    <a16:creationId xmlns:a16="http://schemas.microsoft.com/office/drawing/2014/main" id="{771D0442-D914-5469-5508-5C5AA00B492F}"/>
                  </a:ext>
                </a:extLst>
              </p:cNvPr>
              <p:cNvSpPr/>
              <p:nvPr/>
            </p:nvSpPr>
            <p:spPr>
              <a:xfrm>
                <a:off x="5578270" y="210558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" name="Freihandform: Form 174">
                <a:extLst>
                  <a:ext uri="{FF2B5EF4-FFF2-40B4-BE49-F238E27FC236}">
                    <a16:creationId xmlns:a16="http://schemas.microsoft.com/office/drawing/2014/main" id="{5EB83BA1-F234-9ACE-D69A-D89DFBBF8618}"/>
                  </a:ext>
                </a:extLst>
              </p:cNvPr>
              <p:cNvSpPr/>
              <p:nvPr/>
            </p:nvSpPr>
            <p:spPr>
              <a:xfrm>
                <a:off x="5554553" y="212764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5" name="Grafik 89">
              <a:extLst>
                <a:ext uri="{FF2B5EF4-FFF2-40B4-BE49-F238E27FC236}">
                  <a16:creationId xmlns:a16="http://schemas.microsoft.com/office/drawing/2014/main" id="{0C192712-E790-83B7-1EC4-1664A289FB6E}"/>
                </a:ext>
              </a:extLst>
            </p:cNvPr>
            <p:cNvGrpSpPr/>
            <p:nvPr/>
          </p:nvGrpSpPr>
          <p:grpSpPr>
            <a:xfrm>
              <a:off x="5523441" y="2105581"/>
              <a:ext cx="47433" cy="44118"/>
              <a:chOff x="5523441" y="2105581"/>
              <a:chExt cx="47433" cy="44118"/>
            </a:xfrm>
          </p:grpSpPr>
          <p:sp>
            <p:nvSpPr>
              <p:cNvPr id="172" name="Freihandform: Form 171">
                <a:extLst>
                  <a:ext uri="{FF2B5EF4-FFF2-40B4-BE49-F238E27FC236}">
                    <a16:creationId xmlns:a16="http://schemas.microsoft.com/office/drawing/2014/main" id="{F21EA798-0513-BAE8-D125-C9622E124C28}"/>
                  </a:ext>
                </a:extLst>
              </p:cNvPr>
              <p:cNvSpPr/>
              <p:nvPr/>
            </p:nvSpPr>
            <p:spPr>
              <a:xfrm>
                <a:off x="5547158" y="210558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" name="Freihandform: Form 172">
                <a:extLst>
                  <a:ext uri="{FF2B5EF4-FFF2-40B4-BE49-F238E27FC236}">
                    <a16:creationId xmlns:a16="http://schemas.microsoft.com/office/drawing/2014/main" id="{9E7A2953-EC51-99D1-C276-E78E0BC54685}"/>
                  </a:ext>
                </a:extLst>
              </p:cNvPr>
              <p:cNvSpPr/>
              <p:nvPr/>
            </p:nvSpPr>
            <p:spPr>
              <a:xfrm>
                <a:off x="5523441" y="2127640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6" name="Grafik 89">
              <a:extLst>
                <a:ext uri="{FF2B5EF4-FFF2-40B4-BE49-F238E27FC236}">
                  <a16:creationId xmlns:a16="http://schemas.microsoft.com/office/drawing/2014/main" id="{6C41B0ED-F39C-F884-75AB-DA03ACC5A69D}"/>
                </a:ext>
              </a:extLst>
            </p:cNvPr>
            <p:cNvGrpSpPr/>
            <p:nvPr/>
          </p:nvGrpSpPr>
          <p:grpSpPr>
            <a:xfrm>
              <a:off x="5497684" y="2105581"/>
              <a:ext cx="47561" cy="44118"/>
              <a:chOff x="5497684" y="2105581"/>
              <a:chExt cx="47561" cy="44118"/>
            </a:xfrm>
          </p:grpSpPr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60FFE345-B607-0842-D950-29D494733332}"/>
                  </a:ext>
                </a:extLst>
              </p:cNvPr>
              <p:cNvSpPr/>
              <p:nvPr/>
            </p:nvSpPr>
            <p:spPr>
              <a:xfrm>
                <a:off x="5521528" y="210558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" name="Freihandform: Form 170">
                <a:extLst>
                  <a:ext uri="{FF2B5EF4-FFF2-40B4-BE49-F238E27FC236}">
                    <a16:creationId xmlns:a16="http://schemas.microsoft.com/office/drawing/2014/main" id="{AD74A237-98D2-19BC-2E40-E2966003F9E1}"/>
                  </a:ext>
                </a:extLst>
              </p:cNvPr>
              <p:cNvSpPr/>
              <p:nvPr/>
            </p:nvSpPr>
            <p:spPr>
              <a:xfrm>
                <a:off x="5497684" y="212764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89">
              <a:extLst>
                <a:ext uri="{FF2B5EF4-FFF2-40B4-BE49-F238E27FC236}">
                  <a16:creationId xmlns:a16="http://schemas.microsoft.com/office/drawing/2014/main" id="{62759D24-E948-1300-9237-DD51D153BC62}"/>
                </a:ext>
              </a:extLst>
            </p:cNvPr>
            <p:cNvGrpSpPr/>
            <p:nvPr/>
          </p:nvGrpSpPr>
          <p:grpSpPr>
            <a:xfrm>
              <a:off x="5473967" y="2105581"/>
              <a:ext cx="47561" cy="44118"/>
              <a:chOff x="5473967" y="2105581"/>
              <a:chExt cx="47561" cy="44118"/>
            </a:xfrm>
          </p:grpSpPr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AACBC90D-85FC-88BB-F241-1371D2D1958C}"/>
                  </a:ext>
                </a:extLst>
              </p:cNvPr>
              <p:cNvSpPr/>
              <p:nvPr/>
            </p:nvSpPr>
            <p:spPr>
              <a:xfrm>
                <a:off x="5497684" y="210558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D12D7D30-3D5A-5BC6-895A-8FD9D1A11036}"/>
                  </a:ext>
                </a:extLst>
              </p:cNvPr>
              <p:cNvSpPr/>
              <p:nvPr/>
            </p:nvSpPr>
            <p:spPr>
              <a:xfrm>
                <a:off x="5473967" y="212764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8" name="Grafik 89">
              <a:extLst>
                <a:ext uri="{FF2B5EF4-FFF2-40B4-BE49-F238E27FC236}">
                  <a16:creationId xmlns:a16="http://schemas.microsoft.com/office/drawing/2014/main" id="{3318BD9E-BB47-F6E6-06E8-3DD3146D536C}"/>
                </a:ext>
              </a:extLst>
            </p:cNvPr>
            <p:cNvGrpSpPr/>
            <p:nvPr/>
          </p:nvGrpSpPr>
          <p:grpSpPr>
            <a:xfrm>
              <a:off x="5352068" y="2096018"/>
              <a:ext cx="47561" cy="44118"/>
              <a:chOff x="5352068" y="2096018"/>
              <a:chExt cx="47561" cy="44118"/>
            </a:xfrm>
          </p:grpSpPr>
          <p:sp>
            <p:nvSpPr>
              <p:cNvPr id="166" name="Freihandform: Form 165">
                <a:extLst>
                  <a:ext uri="{FF2B5EF4-FFF2-40B4-BE49-F238E27FC236}">
                    <a16:creationId xmlns:a16="http://schemas.microsoft.com/office/drawing/2014/main" id="{DC47153F-EBD2-8FD6-2C91-B056F70EC6F3}"/>
                  </a:ext>
                </a:extLst>
              </p:cNvPr>
              <p:cNvSpPr/>
              <p:nvPr/>
            </p:nvSpPr>
            <p:spPr>
              <a:xfrm>
                <a:off x="5375785" y="2096018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" name="Freihandform: Form 166">
                <a:extLst>
                  <a:ext uri="{FF2B5EF4-FFF2-40B4-BE49-F238E27FC236}">
                    <a16:creationId xmlns:a16="http://schemas.microsoft.com/office/drawing/2014/main" id="{84DECE22-B784-2741-762D-C54023F69CDC}"/>
                  </a:ext>
                </a:extLst>
              </p:cNvPr>
              <p:cNvSpPr/>
              <p:nvPr/>
            </p:nvSpPr>
            <p:spPr>
              <a:xfrm>
                <a:off x="5352068" y="2118077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9" name="Grafik 89">
              <a:extLst>
                <a:ext uri="{FF2B5EF4-FFF2-40B4-BE49-F238E27FC236}">
                  <a16:creationId xmlns:a16="http://schemas.microsoft.com/office/drawing/2014/main" id="{A88DBBC3-B0C5-DEB9-F94A-3CC926D70DCC}"/>
                </a:ext>
              </a:extLst>
            </p:cNvPr>
            <p:cNvGrpSpPr/>
            <p:nvPr/>
          </p:nvGrpSpPr>
          <p:grpSpPr>
            <a:xfrm>
              <a:off x="5278750" y="2061463"/>
              <a:ext cx="47561" cy="44118"/>
              <a:chOff x="5278750" y="2061463"/>
              <a:chExt cx="47561" cy="44118"/>
            </a:xfrm>
          </p:grpSpPr>
          <p:sp>
            <p:nvSpPr>
              <p:cNvPr id="164" name="Freihandform: Form 163">
                <a:extLst>
                  <a:ext uri="{FF2B5EF4-FFF2-40B4-BE49-F238E27FC236}">
                    <a16:creationId xmlns:a16="http://schemas.microsoft.com/office/drawing/2014/main" id="{8CA741D9-9593-EF77-6A67-7D4F6DC40A3B}"/>
                  </a:ext>
                </a:extLst>
              </p:cNvPr>
              <p:cNvSpPr/>
              <p:nvPr/>
            </p:nvSpPr>
            <p:spPr>
              <a:xfrm>
                <a:off x="5302594" y="2061463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164">
                <a:extLst>
                  <a:ext uri="{FF2B5EF4-FFF2-40B4-BE49-F238E27FC236}">
                    <a16:creationId xmlns:a16="http://schemas.microsoft.com/office/drawing/2014/main" id="{A8947FD5-92F9-715A-FBE1-F9CDB79DF7CD}"/>
                  </a:ext>
                </a:extLst>
              </p:cNvPr>
              <p:cNvSpPr/>
              <p:nvPr/>
            </p:nvSpPr>
            <p:spPr>
              <a:xfrm>
                <a:off x="5278750" y="2083522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0" name="Grafik 89">
              <a:extLst>
                <a:ext uri="{FF2B5EF4-FFF2-40B4-BE49-F238E27FC236}">
                  <a16:creationId xmlns:a16="http://schemas.microsoft.com/office/drawing/2014/main" id="{F2722B9E-CBF7-545E-D749-58659AD56E95}"/>
                </a:ext>
              </a:extLst>
            </p:cNvPr>
            <p:cNvGrpSpPr/>
            <p:nvPr/>
          </p:nvGrpSpPr>
          <p:grpSpPr>
            <a:xfrm>
              <a:off x="5242155" y="2061463"/>
              <a:ext cx="47561" cy="44118"/>
              <a:chOff x="5242155" y="2061463"/>
              <a:chExt cx="47561" cy="44118"/>
            </a:xfrm>
          </p:grpSpPr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B18A1738-5991-8270-41C1-F034C27D8F41}"/>
                  </a:ext>
                </a:extLst>
              </p:cNvPr>
              <p:cNvSpPr/>
              <p:nvPr/>
            </p:nvSpPr>
            <p:spPr>
              <a:xfrm>
                <a:off x="5265999" y="2061463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F50495E5-3A4D-240E-3DBD-6CABB9388A81}"/>
                  </a:ext>
                </a:extLst>
              </p:cNvPr>
              <p:cNvSpPr/>
              <p:nvPr/>
            </p:nvSpPr>
            <p:spPr>
              <a:xfrm>
                <a:off x="5242155" y="2083522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1" name="Grafik 89">
              <a:extLst>
                <a:ext uri="{FF2B5EF4-FFF2-40B4-BE49-F238E27FC236}">
                  <a16:creationId xmlns:a16="http://schemas.microsoft.com/office/drawing/2014/main" id="{B16951F0-01D5-AA54-186A-8E2886C6A2EE}"/>
                </a:ext>
              </a:extLst>
            </p:cNvPr>
            <p:cNvGrpSpPr/>
            <p:nvPr/>
          </p:nvGrpSpPr>
          <p:grpSpPr>
            <a:xfrm>
              <a:off x="5201097" y="2061463"/>
              <a:ext cx="47561" cy="44118"/>
              <a:chOff x="5201097" y="2061463"/>
              <a:chExt cx="47561" cy="44118"/>
            </a:xfrm>
          </p:grpSpPr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25440EAF-B568-DAC9-B46A-A7415E25262F}"/>
                  </a:ext>
                </a:extLst>
              </p:cNvPr>
              <p:cNvSpPr/>
              <p:nvPr/>
            </p:nvSpPr>
            <p:spPr>
              <a:xfrm>
                <a:off x="5224814" y="2061463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FAFBA9A9-1516-D2B7-CB87-A4D556C5F624}"/>
                  </a:ext>
                </a:extLst>
              </p:cNvPr>
              <p:cNvSpPr/>
              <p:nvPr/>
            </p:nvSpPr>
            <p:spPr>
              <a:xfrm>
                <a:off x="5201097" y="2083522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2" name="Grafik 89">
              <a:extLst>
                <a:ext uri="{FF2B5EF4-FFF2-40B4-BE49-F238E27FC236}">
                  <a16:creationId xmlns:a16="http://schemas.microsoft.com/office/drawing/2014/main" id="{53CB6BB8-F710-7523-330A-4944C983A2A1}"/>
                </a:ext>
              </a:extLst>
            </p:cNvPr>
            <p:cNvGrpSpPr/>
            <p:nvPr/>
          </p:nvGrpSpPr>
          <p:grpSpPr>
            <a:xfrm>
              <a:off x="5160804" y="2061463"/>
              <a:ext cx="47561" cy="44118"/>
              <a:chOff x="5160804" y="2061463"/>
              <a:chExt cx="47561" cy="44118"/>
            </a:xfrm>
          </p:grpSpPr>
          <p:sp>
            <p:nvSpPr>
              <p:cNvPr id="158" name="Freihandform: Form 157">
                <a:extLst>
                  <a:ext uri="{FF2B5EF4-FFF2-40B4-BE49-F238E27FC236}">
                    <a16:creationId xmlns:a16="http://schemas.microsoft.com/office/drawing/2014/main" id="{DC515E72-6378-09A5-EF58-79208DF7BDCF}"/>
                  </a:ext>
                </a:extLst>
              </p:cNvPr>
              <p:cNvSpPr/>
              <p:nvPr/>
            </p:nvSpPr>
            <p:spPr>
              <a:xfrm>
                <a:off x="5184521" y="2061463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: Form 158">
                <a:extLst>
                  <a:ext uri="{FF2B5EF4-FFF2-40B4-BE49-F238E27FC236}">
                    <a16:creationId xmlns:a16="http://schemas.microsoft.com/office/drawing/2014/main" id="{F7DF5074-E208-3C19-A1FA-397B568B0CAB}"/>
                  </a:ext>
                </a:extLst>
              </p:cNvPr>
              <p:cNvSpPr/>
              <p:nvPr/>
            </p:nvSpPr>
            <p:spPr>
              <a:xfrm>
                <a:off x="5160804" y="2083522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3" name="Grafik 89">
              <a:extLst>
                <a:ext uri="{FF2B5EF4-FFF2-40B4-BE49-F238E27FC236}">
                  <a16:creationId xmlns:a16="http://schemas.microsoft.com/office/drawing/2014/main" id="{20FF3741-D26F-B1BE-4367-79C889C7CDF4}"/>
                </a:ext>
              </a:extLst>
            </p:cNvPr>
            <p:cNvGrpSpPr/>
            <p:nvPr/>
          </p:nvGrpSpPr>
          <p:grpSpPr>
            <a:xfrm>
              <a:off x="4977955" y="2046927"/>
              <a:ext cx="47561" cy="44118"/>
              <a:chOff x="4977955" y="2046927"/>
              <a:chExt cx="47561" cy="44118"/>
            </a:xfrm>
          </p:grpSpPr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58EC2B74-A36C-71C2-5BE0-3CED77F432DF}"/>
                  </a:ext>
                </a:extLst>
              </p:cNvPr>
              <p:cNvSpPr/>
              <p:nvPr/>
            </p:nvSpPr>
            <p:spPr>
              <a:xfrm>
                <a:off x="5001672" y="204692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: Form 156">
                <a:extLst>
                  <a:ext uri="{FF2B5EF4-FFF2-40B4-BE49-F238E27FC236}">
                    <a16:creationId xmlns:a16="http://schemas.microsoft.com/office/drawing/2014/main" id="{AB8F5A7F-1F86-8809-B8CA-E8161BF65D11}"/>
                  </a:ext>
                </a:extLst>
              </p:cNvPr>
              <p:cNvSpPr/>
              <p:nvPr/>
            </p:nvSpPr>
            <p:spPr>
              <a:xfrm>
                <a:off x="4977955" y="2068986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4" name="Grafik 89">
              <a:extLst>
                <a:ext uri="{FF2B5EF4-FFF2-40B4-BE49-F238E27FC236}">
                  <a16:creationId xmlns:a16="http://schemas.microsoft.com/office/drawing/2014/main" id="{DA45E732-D4F2-8E6B-57CC-CB5A44C1AC40}"/>
                </a:ext>
              </a:extLst>
            </p:cNvPr>
            <p:cNvGrpSpPr/>
            <p:nvPr/>
          </p:nvGrpSpPr>
          <p:grpSpPr>
            <a:xfrm>
              <a:off x="4835272" y="2037618"/>
              <a:ext cx="47561" cy="44245"/>
              <a:chOff x="4835272" y="2037618"/>
              <a:chExt cx="47561" cy="44245"/>
            </a:xfrm>
          </p:grpSpPr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1F6C0BE7-7A8F-E534-26E5-A9ADAD2A6808}"/>
                  </a:ext>
                </a:extLst>
              </p:cNvPr>
              <p:cNvSpPr/>
              <p:nvPr/>
            </p:nvSpPr>
            <p:spPr>
              <a:xfrm>
                <a:off x="4858989" y="2037618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: Form 154">
                <a:extLst>
                  <a:ext uri="{FF2B5EF4-FFF2-40B4-BE49-F238E27FC236}">
                    <a16:creationId xmlns:a16="http://schemas.microsoft.com/office/drawing/2014/main" id="{E9BD1453-633C-5546-81CA-C906C5BE62A5}"/>
                  </a:ext>
                </a:extLst>
              </p:cNvPr>
              <p:cNvSpPr/>
              <p:nvPr/>
            </p:nvSpPr>
            <p:spPr>
              <a:xfrm>
                <a:off x="4835272" y="205967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5" name="Grafik 89">
              <a:extLst>
                <a:ext uri="{FF2B5EF4-FFF2-40B4-BE49-F238E27FC236}">
                  <a16:creationId xmlns:a16="http://schemas.microsoft.com/office/drawing/2014/main" id="{CF8747E3-B14D-6C11-1910-B07C6CA8F1BA}"/>
                </a:ext>
              </a:extLst>
            </p:cNvPr>
            <p:cNvGrpSpPr/>
            <p:nvPr/>
          </p:nvGrpSpPr>
          <p:grpSpPr>
            <a:xfrm>
              <a:off x="4524149" y="2005869"/>
              <a:ext cx="47561" cy="44118"/>
              <a:chOff x="4524149" y="2005869"/>
              <a:chExt cx="47561" cy="44118"/>
            </a:xfrm>
          </p:grpSpPr>
          <p:sp>
            <p:nvSpPr>
              <p:cNvPr id="152" name="Freihandform: Form 151">
                <a:extLst>
                  <a:ext uri="{FF2B5EF4-FFF2-40B4-BE49-F238E27FC236}">
                    <a16:creationId xmlns:a16="http://schemas.microsoft.com/office/drawing/2014/main" id="{9B05FA76-74E5-5159-458B-714379F03A72}"/>
                  </a:ext>
                </a:extLst>
              </p:cNvPr>
              <p:cNvSpPr/>
              <p:nvPr/>
            </p:nvSpPr>
            <p:spPr>
              <a:xfrm>
                <a:off x="4547993" y="200586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3" name="Freihandform: Form 152">
                <a:extLst>
                  <a:ext uri="{FF2B5EF4-FFF2-40B4-BE49-F238E27FC236}">
                    <a16:creationId xmlns:a16="http://schemas.microsoft.com/office/drawing/2014/main" id="{824C9A0B-93AD-4871-FB91-9A91D6BACF78}"/>
                  </a:ext>
                </a:extLst>
              </p:cNvPr>
              <p:cNvSpPr/>
              <p:nvPr/>
            </p:nvSpPr>
            <p:spPr>
              <a:xfrm>
                <a:off x="4524149" y="202792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6" name="Grafik 89">
              <a:extLst>
                <a:ext uri="{FF2B5EF4-FFF2-40B4-BE49-F238E27FC236}">
                  <a16:creationId xmlns:a16="http://schemas.microsoft.com/office/drawing/2014/main" id="{12AA924D-C9D5-AF18-788D-DCBB10DD2F6E}"/>
                </a:ext>
              </a:extLst>
            </p:cNvPr>
            <p:cNvGrpSpPr/>
            <p:nvPr/>
          </p:nvGrpSpPr>
          <p:grpSpPr>
            <a:xfrm>
              <a:off x="4478245" y="2005869"/>
              <a:ext cx="47561" cy="44118"/>
              <a:chOff x="4478245" y="2005869"/>
              <a:chExt cx="47561" cy="44118"/>
            </a:xfrm>
          </p:grpSpPr>
          <p:sp>
            <p:nvSpPr>
              <p:cNvPr id="150" name="Freihandform: Form 149">
                <a:extLst>
                  <a:ext uri="{FF2B5EF4-FFF2-40B4-BE49-F238E27FC236}">
                    <a16:creationId xmlns:a16="http://schemas.microsoft.com/office/drawing/2014/main" id="{2EE593A6-5229-4A4A-E4A4-2B59E37D1C5F}"/>
                  </a:ext>
                </a:extLst>
              </p:cNvPr>
              <p:cNvSpPr/>
              <p:nvPr/>
            </p:nvSpPr>
            <p:spPr>
              <a:xfrm>
                <a:off x="4501962" y="200586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: Form 150">
                <a:extLst>
                  <a:ext uri="{FF2B5EF4-FFF2-40B4-BE49-F238E27FC236}">
                    <a16:creationId xmlns:a16="http://schemas.microsoft.com/office/drawing/2014/main" id="{7B35CBF9-C363-A4B7-0ECB-0846084DFAF9}"/>
                  </a:ext>
                </a:extLst>
              </p:cNvPr>
              <p:cNvSpPr/>
              <p:nvPr/>
            </p:nvSpPr>
            <p:spPr>
              <a:xfrm>
                <a:off x="4478245" y="202792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7" name="Grafik 89">
              <a:extLst>
                <a:ext uri="{FF2B5EF4-FFF2-40B4-BE49-F238E27FC236}">
                  <a16:creationId xmlns:a16="http://schemas.microsoft.com/office/drawing/2014/main" id="{B49C6037-B1B1-1ECF-C4DD-AAD361D9079B}"/>
                </a:ext>
              </a:extLst>
            </p:cNvPr>
            <p:cNvGrpSpPr/>
            <p:nvPr/>
          </p:nvGrpSpPr>
          <p:grpSpPr>
            <a:xfrm>
              <a:off x="4434637" y="2005869"/>
              <a:ext cx="47561" cy="44118"/>
              <a:chOff x="4434637" y="2005869"/>
              <a:chExt cx="47561" cy="44118"/>
            </a:xfrm>
          </p:grpSpPr>
          <p:sp>
            <p:nvSpPr>
              <p:cNvPr id="148" name="Freihandform: Form 147">
                <a:extLst>
                  <a:ext uri="{FF2B5EF4-FFF2-40B4-BE49-F238E27FC236}">
                    <a16:creationId xmlns:a16="http://schemas.microsoft.com/office/drawing/2014/main" id="{6E66FFEC-5B84-09A7-F141-0631069CF07F}"/>
                  </a:ext>
                </a:extLst>
              </p:cNvPr>
              <p:cNvSpPr/>
              <p:nvPr/>
            </p:nvSpPr>
            <p:spPr>
              <a:xfrm>
                <a:off x="4458481" y="200586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9" name="Freihandform: Form 148">
                <a:extLst>
                  <a:ext uri="{FF2B5EF4-FFF2-40B4-BE49-F238E27FC236}">
                    <a16:creationId xmlns:a16="http://schemas.microsoft.com/office/drawing/2014/main" id="{CC706DC2-AD8E-48BF-1D2B-E9874F912842}"/>
                  </a:ext>
                </a:extLst>
              </p:cNvPr>
              <p:cNvSpPr/>
              <p:nvPr/>
            </p:nvSpPr>
            <p:spPr>
              <a:xfrm>
                <a:off x="4434637" y="202792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8" name="Grafik 89">
              <a:extLst>
                <a:ext uri="{FF2B5EF4-FFF2-40B4-BE49-F238E27FC236}">
                  <a16:creationId xmlns:a16="http://schemas.microsoft.com/office/drawing/2014/main" id="{133332B8-DC1D-E381-F3A1-9224C8429865}"/>
                </a:ext>
              </a:extLst>
            </p:cNvPr>
            <p:cNvGrpSpPr/>
            <p:nvPr/>
          </p:nvGrpSpPr>
          <p:grpSpPr>
            <a:xfrm>
              <a:off x="4295397" y="2005869"/>
              <a:ext cx="47561" cy="44118"/>
              <a:chOff x="4295397" y="2005869"/>
              <a:chExt cx="47561" cy="44118"/>
            </a:xfrm>
          </p:grpSpPr>
          <p:sp>
            <p:nvSpPr>
              <p:cNvPr id="146" name="Freihandform: Form 145">
                <a:extLst>
                  <a:ext uri="{FF2B5EF4-FFF2-40B4-BE49-F238E27FC236}">
                    <a16:creationId xmlns:a16="http://schemas.microsoft.com/office/drawing/2014/main" id="{22B2A3FE-0498-E81C-DEC3-437D6F141E37}"/>
                  </a:ext>
                </a:extLst>
              </p:cNvPr>
              <p:cNvSpPr/>
              <p:nvPr/>
            </p:nvSpPr>
            <p:spPr>
              <a:xfrm>
                <a:off x="4319114" y="200586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7" name="Freihandform: Form 146">
                <a:extLst>
                  <a:ext uri="{FF2B5EF4-FFF2-40B4-BE49-F238E27FC236}">
                    <a16:creationId xmlns:a16="http://schemas.microsoft.com/office/drawing/2014/main" id="{3832C54E-BABF-A13A-6397-C64D5263D806}"/>
                  </a:ext>
                </a:extLst>
              </p:cNvPr>
              <p:cNvSpPr/>
              <p:nvPr/>
            </p:nvSpPr>
            <p:spPr>
              <a:xfrm>
                <a:off x="4295397" y="202792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9" name="Grafik 89">
              <a:extLst>
                <a:ext uri="{FF2B5EF4-FFF2-40B4-BE49-F238E27FC236}">
                  <a16:creationId xmlns:a16="http://schemas.microsoft.com/office/drawing/2014/main" id="{42EA7439-6072-1913-8449-B7A36E95DD70}"/>
                </a:ext>
              </a:extLst>
            </p:cNvPr>
            <p:cNvGrpSpPr/>
            <p:nvPr/>
          </p:nvGrpSpPr>
          <p:grpSpPr>
            <a:xfrm>
              <a:off x="4067410" y="1977051"/>
              <a:ext cx="47561" cy="44118"/>
              <a:chOff x="4067410" y="1977051"/>
              <a:chExt cx="47561" cy="44118"/>
            </a:xfrm>
          </p:grpSpPr>
          <p:sp>
            <p:nvSpPr>
              <p:cNvPr id="144" name="Freihandform: Form 143">
                <a:extLst>
                  <a:ext uri="{FF2B5EF4-FFF2-40B4-BE49-F238E27FC236}">
                    <a16:creationId xmlns:a16="http://schemas.microsoft.com/office/drawing/2014/main" id="{6885AE09-2549-F809-7E5F-05A04E7FA48F}"/>
                  </a:ext>
                </a:extLst>
              </p:cNvPr>
              <p:cNvSpPr/>
              <p:nvPr/>
            </p:nvSpPr>
            <p:spPr>
              <a:xfrm>
                <a:off x="4091254" y="197705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: Form 144">
                <a:extLst>
                  <a:ext uri="{FF2B5EF4-FFF2-40B4-BE49-F238E27FC236}">
                    <a16:creationId xmlns:a16="http://schemas.microsoft.com/office/drawing/2014/main" id="{0233C6C5-2D50-7566-63F9-57FEFDF2D463}"/>
                  </a:ext>
                </a:extLst>
              </p:cNvPr>
              <p:cNvSpPr/>
              <p:nvPr/>
            </p:nvSpPr>
            <p:spPr>
              <a:xfrm>
                <a:off x="4067410" y="199911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0" name="Grafik 89">
              <a:extLst>
                <a:ext uri="{FF2B5EF4-FFF2-40B4-BE49-F238E27FC236}">
                  <a16:creationId xmlns:a16="http://schemas.microsoft.com/office/drawing/2014/main" id="{EB34E2C2-63B9-6037-30AD-D8D07D507C85}"/>
                </a:ext>
              </a:extLst>
            </p:cNvPr>
            <p:cNvGrpSpPr/>
            <p:nvPr/>
          </p:nvGrpSpPr>
          <p:grpSpPr>
            <a:xfrm>
              <a:off x="4043693" y="1977051"/>
              <a:ext cx="47561" cy="44118"/>
              <a:chOff x="4043693" y="1977051"/>
              <a:chExt cx="47561" cy="44118"/>
            </a:xfrm>
          </p:grpSpPr>
          <p:sp>
            <p:nvSpPr>
              <p:cNvPr id="142" name="Freihandform: Form 141">
                <a:extLst>
                  <a:ext uri="{FF2B5EF4-FFF2-40B4-BE49-F238E27FC236}">
                    <a16:creationId xmlns:a16="http://schemas.microsoft.com/office/drawing/2014/main" id="{60255459-93A8-1478-DFE3-99C515C89941}"/>
                  </a:ext>
                </a:extLst>
              </p:cNvPr>
              <p:cNvSpPr/>
              <p:nvPr/>
            </p:nvSpPr>
            <p:spPr>
              <a:xfrm>
                <a:off x="4067410" y="197705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Freihandform: Form 142">
                <a:extLst>
                  <a:ext uri="{FF2B5EF4-FFF2-40B4-BE49-F238E27FC236}">
                    <a16:creationId xmlns:a16="http://schemas.microsoft.com/office/drawing/2014/main" id="{322B2670-2EF1-2075-7340-4F18C669628D}"/>
                  </a:ext>
                </a:extLst>
              </p:cNvPr>
              <p:cNvSpPr/>
              <p:nvPr/>
            </p:nvSpPr>
            <p:spPr>
              <a:xfrm>
                <a:off x="4043693" y="199911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1" name="Grafik 89">
              <a:extLst>
                <a:ext uri="{FF2B5EF4-FFF2-40B4-BE49-F238E27FC236}">
                  <a16:creationId xmlns:a16="http://schemas.microsoft.com/office/drawing/2014/main" id="{08BEA051-CC98-B71D-50AC-6CB96CBDEC02}"/>
                </a:ext>
              </a:extLst>
            </p:cNvPr>
            <p:cNvGrpSpPr/>
            <p:nvPr/>
          </p:nvGrpSpPr>
          <p:grpSpPr>
            <a:xfrm>
              <a:off x="3472578" y="1905519"/>
              <a:ext cx="47433" cy="44118"/>
              <a:chOff x="3472578" y="1905519"/>
              <a:chExt cx="47433" cy="44118"/>
            </a:xfrm>
          </p:grpSpPr>
          <p:sp>
            <p:nvSpPr>
              <p:cNvPr id="140" name="Freihandform: Form 139">
                <a:extLst>
                  <a:ext uri="{FF2B5EF4-FFF2-40B4-BE49-F238E27FC236}">
                    <a16:creationId xmlns:a16="http://schemas.microsoft.com/office/drawing/2014/main" id="{7F6CD092-5779-712F-E022-B739110B973B}"/>
                  </a:ext>
                </a:extLst>
              </p:cNvPr>
              <p:cNvSpPr/>
              <p:nvPr/>
            </p:nvSpPr>
            <p:spPr>
              <a:xfrm>
                <a:off x="3496295" y="190551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1" name="Freihandform: Form 140">
                <a:extLst>
                  <a:ext uri="{FF2B5EF4-FFF2-40B4-BE49-F238E27FC236}">
                    <a16:creationId xmlns:a16="http://schemas.microsoft.com/office/drawing/2014/main" id="{BCB35FCD-BEC3-8DF8-8B56-8A2DDF5383FB}"/>
                  </a:ext>
                </a:extLst>
              </p:cNvPr>
              <p:cNvSpPr/>
              <p:nvPr/>
            </p:nvSpPr>
            <p:spPr>
              <a:xfrm>
                <a:off x="3472578" y="1927578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2" name="Grafik 89">
              <a:extLst>
                <a:ext uri="{FF2B5EF4-FFF2-40B4-BE49-F238E27FC236}">
                  <a16:creationId xmlns:a16="http://schemas.microsoft.com/office/drawing/2014/main" id="{9EB9EC5D-2DA0-5BE6-6A85-B87FC2A2EADF}"/>
                </a:ext>
              </a:extLst>
            </p:cNvPr>
            <p:cNvGrpSpPr/>
            <p:nvPr/>
          </p:nvGrpSpPr>
          <p:grpSpPr>
            <a:xfrm>
              <a:off x="3437768" y="1905519"/>
              <a:ext cx="47561" cy="44118"/>
              <a:chOff x="3437768" y="1905519"/>
              <a:chExt cx="47561" cy="44118"/>
            </a:xfrm>
          </p:grpSpPr>
          <p:sp>
            <p:nvSpPr>
              <p:cNvPr id="138" name="Freihandform: Form 137">
                <a:extLst>
                  <a:ext uri="{FF2B5EF4-FFF2-40B4-BE49-F238E27FC236}">
                    <a16:creationId xmlns:a16="http://schemas.microsoft.com/office/drawing/2014/main" id="{D90AA1CC-A573-7581-D61C-82F8F5E9512F}"/>
                  </a:ext>
                </a:extLst>
              </p:cNvPr>
              <p:cNvSpPr/>
              <p:nvPr/>
            </p:nvSpPr>
            <p:spPr>
              <a:xfrm>
                <a:off x="3461612" y="190551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9" name="Freihandform: Form 138">
                <a:extLst>
                  <a:ext uri="{FF2B5EF4-FFF2-40B4-BE49-F238E27FC236}">
                    <a16:creationId xmlns:a16="http://schemas.microsoft.com/office/drawing/2014/main" id="{25428BE2-9125-BC78-97E1-D753B8562246}"/>
                  </a:ext>
                </a:extLst>
              </p:cNvPr>
              <p:cNvSpPr/>
              <p:nvPr/>
            </p:nvSpPr>
            <p:spPr>
              <a:xfrm>
                <a:off x="3437768" y="192757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3" name="Grafik 89">
              <a:extLst>
                <a:ext uri="{FF2B5EF4-FFF2-40B4-BE49-F238E27FC236}">
                  <a16:creationId xmlns:a16="http://schemas.microsoft.com/office/drawing/2014/main" id="{FEC19340-91BF-8C1C-A415-BDF9A1B8B5BF}"/>
                </a:ext>
              </a:extLst>
            </p:cNvPr>
            <p:cNvGrpSpPr/>
            <p:nvPr/>
          </p:nvGrpSpPr>
          <p:grpSpPr>
            <a:xfrm>
              <a:off x="3154314" y="1831053"/>
              <a:ext cx="47561" cy="44118"/>
              <a:chOff x="3154314" y="1831053"/>
              <a:chExt cx="47561" cy="44118"/>
            </a:xfrm>
          </p:grpSpPr>
          <p:sp>
            <p:nvSpPr>
              <p:cNvPr id="136" name="Freihandform: Form 135">
                <a:extLst>
                  <a:ext uri="{FF2B5EF4-FFF2-40B4-BE49-F238E27FC236}">
                    <a16:creationId xmlns:a16="http://schemas.microsoft.com/office/drawing/2014/main" id="{AE9D185A-2A92-3E0A-61E7-02FF0AF5CA00}"/>
                  </a:ext>
                </a:extLst>
              </p:cNvPr>
              <p:cNvSpPr/>
              <p:nvPr/>
            </p:nvSpPr>
            <p:spPr>
              <a:xfrm>
                <a:off x="3178031" y="1831053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: Form 136">
                <a:extLst>
                  <a:ext uri="{FF2B5EF4-FFF2-40B4-BE49-F238E27FC236}">
                    <a16:creationId xmlns:a16="http://schemas.microsoft.com/office/drawing/2014/main" id="{E2442AE3-4F35-5A26-D100-431C69E35B08}"/>
                  </a:ext>
                </a:extLst>
              </p:cNvPr>
              <p:cNvSpPr/>
              <p:nvPr/>
            </p:nvSpPr>
            <p:spPr>
              <a:xfrm>
                <a:off x="3154314" y="1853112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4" name="Grafik 89">
              <a:extLst>
                <a:ext uri="{FF2B5EF4-FFF2-40B4-BE49-F238E27FC236}">
                  <a16:creationId xmlns:a16="http://schemas.microsoft.com/office/drawing/2014/main" id="{EB4704FC-E900-0E89-BFCC-80BDFC452132}"/>
                </a:ext>
              </a:extLst>
            </p:cNvPr>
            <p:cNvGrpSpPr/>
            <p:nvPr/>
          </p:nvGrpSpPr>
          <p:grpSpPr>
            <a:xfrm>
              <a:off x="2733150" y="1645017"/>
              <a:ext cx="47433" cy="44118"/>
              <a:chOff x="2733150" y="1645017"/>
              <a:chExt cx="47433" cy="44118"/>
            </a:xfrm>
          </p:grpSpPr>
          <p:sp>
            <p:nvSpPr>
              <p:cNvPr id="134" name="Freihandform: Form 133">
                <a:extLst>
                  <a:ext uri="{FF2B5EF4-FFF2-40B4-BE49-F238E27FC236}">
                    <a16:creationId xmlns:a16="http://schemas.microsoft.com/office/drawing/2014/main" id="{045B402D-71E4-7699-F593-CAE307EF773C}"/>
                  </a:ext>
                </a:extLst>
              </p:cNvPr>
              <p:cNvSpPr/>
              <p:nvPr/>
            </p:nvSpPr>
            <p:spPr>
              <a:xfrm>
                <a:off x="2756867" y="1645017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4C1103C2-E1EA-0C22-BFAA-AAAF74C5E0D1}"/>
                  </a:ext>
                </a:extLst>
              </p:cNvPr>
              <p:cNvSpPr/>
              <p:nvPr/>
            </p:nvSpPr>
            <p:spPr>
              <a:xfrm>
                <a:off x="2733150" y="1667076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5" name="Grafik 89">
              <a:extLst>
                <a:ext uri="{FF2B5EF4-FFF2-40B4-BE49-F238E27FC236}">
                  <a16:creationId xmlns:a16="http://schemas.microsoft.com/office/drawing/2014/main" id="{B352627B-36EE-95B0-4A55-821AD8B68C75}"/>
                </a:ext>
              </a:extLst>
            </p:cNvPr>
            <p:cNvGrpSpPr/>
            <p:nvPr/>
          </p:nvGrpSpPr>
          <p:grpSpPr>
            <a:xfrm>
              <a:off x="2678449" y="1639534"/>
              <a:ext cx="47561" cy="44118"/>
              <a:chOff x="2678449" y="1639534"/>
              <a:chExt cx="47561" cy="44118"/>
            </a:xfrm>
          </p:grpSpPr>
          <p:sp>
            <p:nvSpPr>
              <p:cNvPr id="132" name="Freihandform: Form 131">
                <a:extLst>
                  <a:ext uri="{FF2B5EF4-FFF2-40B4-BE49-F238E27FC236}">
                    <a16:creationId xmlns:a16="http://schemas.microsoft.com/office/drawing/2014/main" id="{DEEC2638-0D1B-3338-26E3-FA678A86BC08}"/>
                  </a:ext>
                </a:extLst>
              </p:cNvPr>
              <p:cNvSpPr/>
              <p:nvPr/>
            </p:nvSpPr>
            <p:spPr>
              <a:xfrm>
                <a:off x="2702165" y="163953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: Form 132">
                <a:extLst>
                  <a:ext uri="{FF2B5EF4-FFF2-40B4-BE49-F238E27FC236}">
                    <a16:creationId xmlns:a16="http://schemas.microsoft.com/office/drawing/2014/main" id="{A99390FA-7F4E-8C69-2B4A-6B56C3FD7D8F}"/>
                  </a:ext>
                </a:extLst>
              </p:cNvPr>
              <p:cNvSpPr/>
              <p:nvPr/>
            </p:nvSpPr>
            <p:spPr>
              <a:xfrm>
                <a:off x="2678449" y="166159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6" name="Grafik 89">
              <a:extLst>
                <a:ext uri="{FF2B5EF4-FFF2-40B4-BE49-F238E27FC236}">
                  <a16:creationId xmlns:a16="http://schemas.microsoft.com/office/drawing/2014/main" id="{9EB9E1D8-FA6C-D83F-9E1B-54DC7274510C}"/>
                </a:ext>
              </a:extLst>
            </p:cNvPr>
            <p:cNvGrpSpPr/>
            <p:nvPr/>
          </p:nvGrpSpPr>
          <p:grpSpPr>
            <a:xfrm>
              <a:off x="2637136" y="1597201"/>
              <a:ext cx="47561" cy="44118"/>
              <a:chOff x="2637136" y="1597201"/>
              <a:chExt cx="47561" cy="44118"/>
            </a:xfrm>
          </p:grpSpPr>
          <p:sp>
            <p:nvSpPr>
              <p:cNvPr id="130" name="Freihandform: Form 129">
                <a:extLst>
                  <a:ext uri="{FF2B5EF4-FFF2-40B4-BE49-F238E27FC236}">
                    <a16:creationId xmlns:a16="http://schemas.microsoft.com/office/drawing/2014/main" id="{FCF528B8-0212-B2B5-C850-E0AB096D9FCC}"/>
                  </a:ext>
                </a:extLst>
              </p:cNvPr>
              <p:cNvSpPr/>
              <p:nvPr/>
            </p:nvSpPr>
            <p:spPr>
              <a:xfrm>
                <a:off x="2660980" y="159720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72450BED-FDA5-0C23-9A7F-1FA485261716}"/>
                  </a:ext>
                </a:extLst>
              </p:cNvPr>
              <p:cNvSpPr/>
              <p:nvPr/>
            </p:nvSpPr>
            <p:spPr>
              <a:xfrm>
                <a:off x="2637136" y="161926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7" name="Grafik 89">
              <a:extLst>
                <a:ext uri="{FF2B5EF4-FFF2-40B4-BE49-F238E27FC236}">
                  <a16:creationId xmlns:a16="http://schemas.microsoft.com/office/drawing/2014/main" id="{16236F28-E7C3-EBEB-349E-48965749A76D}"/>
                </a:ext>
              </a:extLst>
            </p:cNvPr>
            <p:cNvGrpSpPr/>
            <p:nvPr/>
          </p:nvGrpSpPr>
          <p:grpSpPr>
            <a:xfrm>
              <a:off x="2418202" y="1414735"/>
              <a:ext cx="47561" cy="44118"/>
              <a:chOff x="2418202" y="1414735"/>
              <a:chExt cx="47561" cy="44118"/>
            </a:xfrm>
          </p:grpSpPr>
          <p:sp>
            <p:nvSpPr>
              <p:cNvPr id="128" name="Freihandform: Form 127">
                <a:extLst>
                  <a:ext uri="{FF2B5EF4-FFF2-40B4-BE49-F238E27FC236}">
                    <a16:creationId xmlns:a16="http://schemas.microsoft.com/office/drawing/2014/main" id="{CF3C457C-58AB-CA5B-3194-8EAB3D7D865A}"/>
                  </a:ext>
                </a:extLst>
              </p:cNvPr>
              <p:cNvSpPr/>
              <p:nvPr/>
            </p:nvSpPr>
            <p:spPr>
              <a:xfrm>
                <a:off x="2442046" y="1414735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E27C306C-F089-9C29-694A-90572AFAB51F}"/>
                  </a:ext>
                </a:extLst>
              </p:cNvPr>
              <p:cNvSpPr/>
              <p:nvPr/>
            </p:nvSpPr>
            <p:spPr>
              <a:xfrm>
                <a:off x="2418202" y="1436794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92" name="Grafik 89">
            <a:extLst>
              <a:ext uri="{FF2B5EF4-FFF2-40B4-BE49-F238E27FC236}">
                <a16:creationId xmlns:a16="http://schemas.microsoft.com/office/drawing/2014/main" id="{CEC96A51-B6EA-B1BE-D4E7-ACE271584AAF}"/>
              </a:ext>
            </a:extLst>
          </p:cNvPr>
          <p:cNvGrpSpPr/>
          <p:nvPr/>
        </p:nvGrpSpPr>
        <p:grpSpPr>
          <a:xfrm>
            <a:off x="2602050" y="1099430"/>
            <a:ext cx="5008701" cy="1288738"/>
            <a:chOff x="2131433" y="1172594"/>
            <a:chExt cx="5008701" cy="1288738"/>
          </a:xfrm>
          <a:noFill/>
        </p:grpSpPr>
        <p:sp>
          <p:nvSpPr>
            <p:cNvPr id="293" name="Freihandform: Form 292">
              <a:extLst>
                <a:ext uri="{FF2B5EF4-FFF2-40B4-BE49-F238E27FC236}">
                  <a16:creationId xmlns:a16="http://schemas.microsoft.com/office/drawing/2014/main" id="{6FFCF4B9-B08A-966B-C9E5-B806322495F4}"/>
                </a:ext>
              </a:extLst>
            </p:cNvPr>
            <p:cNvSpPr/>
            <p:nvPr/>
          </p:nvSpPr>
          <p:spPr>
            <a:xfrm>
              <a:off x="2131433" y="1172594"/>
              <a:ext cx="4961140" cy="1267444"/>
            </a:xfrm>
            <a:custGeom>
              <a:avLst/>
              <a:gdLst>
                <a:gd name="connsiteX0" fmla="*/ 4961140 w 4961140"/>
                <a:gd name="connsiteY0" fmla="*/ 1267445 h 1267444"/>
                <a:gd name="connsiteX1" fmla="*/ 4307017 w 4961140"/>
                <a:gd name="connsiteY1" fmla="*/ 1267445 h 1267444"/>
                <a:gd name="connsiteX2" fmla="*/ 4307017 w 4961140"/>
                <a:gd name="connsiteY2" fmla="*/ 1129989 h 1267444"/>
                <a:gd name="connsiteX3" fmla="*/ 3566186 w 4961140"/>
                <a:gd name="connsiteY3" fmla="*/ 1129989 h 1267444"/>
                <a:gd name="connsiteX4" fmla="*/ 3566186 w 4961140"/>
                <a:gd name="connsiteY4" fmla="*/ 1059094 h 1267444"/>
                <a:gd name="connsiteX5" fmla="*/ 3547698 w 4961140"/>
                <a:gd name="connsiteY5" fmla="*/ 1059094 h 1267444"/>
                <a:gd name="connsiteX6" fmla="*/ 3547698 w 4961140"/>
                <a:gd name="connsiteY6" fmla="*/ 999420 h 1267444"/>
                <a:gd name="connsiteX7" fmla="*/ 2558734 w 4961140"/>
                <a:gd name="connsiteY7" fmla="*/ 999420 h 1267444"/>
                <a:gd name="connsiteX8" fmla="*/ 2558734 w 4961140"/>
                <a:gd name="connsiteY8" fmla="*/ 959127 h 1267444"/>
                <a:gd name="connsiteX9" fmla="*/ 2310218 w 4961140"/>
                <a:gd name="connsiteY9" fmla="*/ 959127 h 1267444"/>
                <a:gd name="connsiteX10" fmla="*/ 2310218 w 4961140"/>
                <a:gd name="connsiteY10" fmla="*/ 914116 h 1267444"/>
                <a:gd name="connsiteX11" fmla="*/ 2245060 w 4961140"/>
                <a:gd name="connsiteY11" fmla="*/ 914116 h 1267444"/>
                <a:gd name="connsiteX12" fmla="*/ 2245060 w 4961140"/>
                <a:gd name="connsiteY12" fmla="*/ 869742 h 1267444"/>
                <a:gd name="connsiteX13" fmla="*/ 2218156 w 4961140"/>
                <a:gd name="connsiteY13" fmla="*/ 869742 h 1267444"/>
                <a:gd name="connsiteX14" fmla="*/ 2218156 w 4961140"/>
                <a:gd name="connsiteY14" fmla="*/ 831490 h 1267444"/>
                <a:gd name="connsiteX15" fmla="*/ 2076620 w 4961140"/>
                <a:gd name="connsiteY15" fmla="*/ 831490 h 1267444"/>
                <a:gd name="connsiteX16" fmla="*/ 2076620 w 4961140"/>
                <a:gd name="connsiteY16" fmla="*/ 789411 h 1267444"/>
                <a:gd name="connsiteX17" fmla="*/ 1680703 w 4961140"/>
                <a:gd name="connsiteY17" fmla="*/ 789411 h 1267444"/>
                <a:gd name="connsiteX18" fmla="*/ 1680703 w 4961140"/>
                <a:gd name="connsiteY18" fmla="*/ 752561 h 1267444"/>
                <a:gd name="connsiteX19" fmla="*/ 1542865 w 4961140"/>
                <a:gd name="connsiteY19" fmla="*/ 752561 h 1267444"/>
                <a:gd name="connsiteX20" fmla="*/ 1542865 w 4961140"/>
                <a:gd name="connsiteY20" fmla="*/ 711376 h 1267444"/>
                <a:gd name="connsiteX21" fmla="*/ 1355044 w 4961140"/>
                <a:gd name="connsiteY21" fmla="*/ 711376 h 1267444"/>
                <a:gd name="connsiteX22" fmla="*/ 1355044 w 4961140"/>
                <a:gd name="connsiteY22" fmla="*/ 675035 h 1267444"/>
                <a:gd name="connsiteX23" fmla="*/ 1328012 w 4961140"/>
                <a:gd name="connsiteY23" fmla="*/ 675035 h 1267444"/>
                <a:gd name="connsiteX24" fmla="*/ 1328012 w 4961140"/>
                <a:gd name="connsiteY24" fmla="*/ 632065 h 1267444"/>
                <a:gd name="connsiteX25" fmla="*/ 1249848 w 4961140"/>
                <a:gd name="connsiteY25" fmla="*/ 632065 h 1267444"/>
                <a:gd name="connsiteX26" fmla="*/ 1249848 w 4961140"/>
                <a:gd name="connsiteY26" fmla="*/ 592537 h 1267444"/>
                <a:gd name="connsiteX27" fmla="*/ 1220011 w 4961140"/>
                <a:gd name="connsiteY27" fmla="*/ 592537 h 1267444"/>
                <a:gd name="connsiteX28" fmla="*/ 1220011 w 4961140"/>
                <a:gd name="connsiteY28" fmla="*/ 555049 h 1267444"/>
                <a:gd name="connsiteX29" fmla="*/ 1142868 w 4961140"/>
                <a:gd name="connsiteY29" fmla="*/ 555049 h 1267444"/>
                <a:gd name="connsiteX30" fmla="*/ 1142868 w 4961140"/>
                <a:gd name="connsiteY30" fmla="*/ 518709 h 1267444"/>
                <a:gd name="connsiteX31" fmla="*/ 1077328 w 4961140"/>
                <a:gd name="connsiteY31" fmla="*/ 518709 h 1267444"/>
                <a:gd name="connsiteX32" fmla="*/ 1077328 w 4961140"/>
                <a:gd name="connsiteY32" fmla="*/ 484536 h 1267444"/>
                <a:gd name="connsiteX33" fmla="*/ 880836 w 4961140"/>
                <a:gd name="connsiteY33" fmla="*/ 484536 h 1267444"/>
                <a:gd name="connsiteX34" fmla="*/ 880836 w 4961140"/>
                <a:gd name="connsiteY34" fmla="*/ 450364 h 1267444"/>
                <a:gd name="connsiteX35" fmla="*/ 714308 w 4961140"/>
                <a:gd name="connsiteY35" fmla="*/ 450364 h 1267444"/>
                <a:gd name="connsiteX36" fmla="*/ 714308 w 4961140"/>
                <a:gd name="connsiteY36" fmla="*/ 414023 h 1267444"/>
                <a:gd name="connsiteX37" fmla="*/ 642138 w 4961140"/>
                <a:gd name="connsiteY37" fmla="*/ 414023 h 1267444"/>
                <a:gd name="connsiteX38" fmla="*/ 642138 w 4961140"/>
                <a:gd name="connsiteY38" fmla="*/ 383676 h 1267444"/>
                <a:gd name="connsiteX39" fmla="*/ 631810 w 4961140"/>
                <a:gd name="connsiteY39" fmla="*/ 383676 h 1267444"/>
                <a:gd name="connsiteX40" fmla="*/ 631810 w 4961140"/>
                <a:gd name="connsiteY40" fmla="*/ 314693 h 1267444"/>
                <a:gd name="connsiteX41" fmla="*/ 391582 w 4961140"/>
                <a:gd name="connsiteY41" fmla="*/ 314693 h 1267444"/>
                <a:gd name="connsiteX42" fmla="*/ 391582 w 4961140"/>
                <a:gd name="connsiteY42" fmla="*/ 278991 h 1267444"/>
                <a:gd name="connsiteX43" fmla="*/ 315841 w 4961140"/>
                <a:gd name="connsiteY43" fmla="*/ 278991 h 1267444"/>
                <a:gd name="connsiteX44" fmla="*/ 315841 w 4961140"/>
                <a:gd name="connsiteY44" fmla="*/ 217531 h 1267444"/>
                <a:gd name="connsiteX45" fmla="*/ 264965 w 4961140"/>
                <a:gd name="connsiteY45" fmla="*/ 217531 h 1267444"/>
                <a:gd name="connsiteX46" fmla="*/ 264965 w 4961140"/>
                <a:gd name="connsiteY46" fmla="*/ 187822 h 1267444"/>
                <a:gd name="connsiteX47" fmla="*/ 219316 w 4961140"/>
                <a:gd name="connsiteY47" fmla="*/ 187822 h 1267444"/>
                <a:gd name="connsiteX48" fmla="*/ 219316 w 4961140"/>
                <a:gd name="connsiteY48" fmla="*/ 153011 h 1267444"/>
                <a:gd name="connsiteX49" fmla="*/ 182211 w 4961140"/>
                <a:gd name="connsiteY49" fmla="*/ 153011 h 1267444"/>
                <a:gd name="connsiteX50" fmla="*/ 182211 w 4961140"/>
                <a:gd name="connsiteY50" fmla="*/ 124067 h 1267444"/>
                <a:gd name="connsiteX51" fmla="*/ 172520 w 4961140"/>
                <a:gd name="connsiteY51" fmla="*/ 124067 h 1267444"/>
                <a:gd name="connsiteX52" fmla="*/ 172520 w 4961140"/>
                <a:gd name="connsiteY52" fmla="*/ 93592 h 1267444"/>
                <a:gd name="connsiteX53" fmla="*/ 137965 w 4961140"/>
                <a:gd name="connsiteY53" fmla="*/ 93592 h 1267444"/>
                <a:gd name="connsiteX54" fmla="*/ 137965 w 4961140"/>
                <a:gd name="connsiteY54" fmla="*/ 62225 h 1267444"/>
                <a:gd name="connsiteX55" fmla="*/ 90659 w 4961140"/>
                <a:gd name="connsiteY55" fmla="*/ 62225 h 1267444"/>
                <a:gd name="connsiteX56" fmla="*/ 90659 w 4961140"/>
                <a:gd name="connsiteY56" fmla="*/ 30475 h 1267444"/>
                <a:gd name="connsiteX57" fmla="*/ 45138 w 4961140"/>
                <a:gd name="connsiteY57" fmla="*/ 30475 h 1267444"/>
                <a:gd name="connsiteX58" fmla="*/ 45138 w 4961140"/>
                <a:gd name="connsiteY58" fmla="*/ 8926 h 1267444"/>
                <a:gd name="connsiteX59" fmla="*/ 20274 w 4961140"/>
                <a:gd name="connsiteY59" fmla="*/ 8926 h 1267444"/>
                <a:gd name="connsiteX60" fmla="*/ 20274 w 4961140"/>
                <a:gd name="connsiteY60" fmla="*/ 0 h 1267444"/>
                <a:gd name="connsiteX61" fmla="*/ 0 w 4961140"/>
                <a:gd name="connsiteY61" fmla="*/ 0 h 1267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961140" h="1267444">
                  <a:moveTo>
                    <a:pt x="4961140" y="1267445"/>
                  </a:moveTo>
                  <a:lnTo>
                    <a:pt x="4307017" y="1267445"/>
                  </a:lnTo>
                  <a:lnTo>
                    <a:pt x="4307017" y="1129989"/>
                  </a:lnTo>
                  <a:lnTo>
                    <a:pt x="3566186" y="1129989"/>
                  </a:lnTo>
                  <a:lnTo>
                    <a:pt x="3566186" y="1059094"/>
                  </a:lnTo>
                  <a:lnTo>
                    <a:pt x="3547698" y="1059094"/>
                  </a:lnTo>
                  <a:lnTo>
                    <a:pt x="3547698" y="999420"/>
                  </a:lnTo>
                  <a:lnTo>
                    <a:pt x="2558734" y="999420"/>
                  </a:lnTo>
                  <a:lnTo>
                    <a:pt x="2558734" y="959127"/>
                  </a:lnTo>
                  <a:lnTo>
                    <a:pt x="2310218" y="959127"/>
                  </a:lnTo>
                  <a:lnTo>
                    <a:pt x="2310218" y="914116"/>
                  </a:lnTo>
                  <a:lnTo>
                    <a:pt x="2245060" y="914116"/>
                  </a:lnTo>
                  <a:lnTo>
                    <a:pt x="2245060" y="869742"/>
                  </a:lnTo>
                  <a:lnTo>
                    <a:pt x="2218156" y="869742"/>
                  </a:lnTo>
                  <a:lnTo>
                    <a:pt x="2218156" y="831490"/>
                  </a:lnTo>
                  <a:lnTo>
                    <a:pt x="2076620" y="831490"/>
                  </a:lnTo>
                  <a:lnTo>
                    <a:pt x="2076620" y="789411"/>
                  </a:lnTo>
                  <a:lnTo>
                    <a:pt x="1680703" y="789411"/>
                  </a:lnTo>
                  <a:lnTo>
                    <a:pt x="1680703" y="752561"/>
                  </a:lnTo>
                  <a:lnTo>
                    <a:pt x="1542865" y="752561"/>
                  </a:lnTo>
                  <a:lnTo>
                    <a:pt x="1542865" y="711376"/>
                  </a:lnTo>
                  <a:lnTo>
                    <a:pt x="1355044" y="711376"/>
                  </a:lnTo>
                  <a:lnTo>
                    <a:pt x="1355044" y="675035"/>
                  </a:lnTo>
                  <a:lnTo>
                    <a:pt x="1328012" y="675035"/>
                  </a:lnTo>
                  <a:lnTo>
                    <a:pt x="1328012" y="632065"/>
                  </a:lnTo>
                  <a:lnTo>
                    <a:pt x="1249848" y="632065"/>
                  </a:lnTo>
                  <a:lnTo>
                    <a:pt x="1249848" y="592537"/>
                  </a:lnTo>
                  <a:lnTo>
                    <a:pt x="1220011" y="592537"/>
                  </a:lnTo>
                  <a:lnTo>
                    <a:pt x="1220011" y="555049"/>
                  </a:lnTo>
                  <a:lnTo>
                    <a:pt x="1142868" y="555049"/>
                  </a:lnTo>
                  <a:lnTo>
                    <a:pt x="1142868" y="518709"/>
                  </a:lnTo>
                  <a:lnTo>
                    <a:pt x="1077328" y="518709"/>
                  </a:lnTo>
                  <a:lnTo>
                    <a:pt x="1077328" y="484536"/>
                  </a:lnTo>
                  <a:lnTo>
                    <a:pt x="880836" y="484536"/>
                  </a:lnTo>
                  <a:lnTo>
                    <a:pt x="880836" y="450364"/>
                  </a:lnTo>
                  <a:lnTo>
                    <a:pt x="714308" y="450364"/>
                  </a:lnTo>
                  <a:lnTo>
                    <a:pt x="714308" y="414023"/>
                  </a:lnTo>
                  <a:lnTo>
                    <a:pt x="642138" y="414023"/>
                  </a:lnTo>
                  <a:lnTo>
                    <a:pt x="642138" y="383676"/>
                  </a:lnTo>
                  <a:lnTo>
                    <a:pt x="631810" y="383676"/>
                  </a:lnTo>
                  <a:lnTo>
                    <a:pt x="631810" y="314693"/>
                  </a:lnTo>
                  <a:lnTo>
                    <a:pt x="391582" y="314693"/>
                  </a:lnTo>
                  <a:lnTo>
                    <a:pt x="391582" y="278991"/>
                  </a:lnTo>
                  <a:lnTo>
                    <a:pt x="315841" y="278991"/>
                  </a:lnTo>
                  <a:lnTo>
                    <a:pt x="315841" y="217531"/>
                  </a:lnTo>
                  <a:lnTo>
                    <a:pt x="264965" y="217531"/>
                  </a:lnTo>
                  <a:lnTo>
                    <a:pt x="264965" y="187822"/>
                  </a:lnTo>
                  <a:lnTo>
                    <a:pt x="219316" y="187822"/>
                  </a:lnTo>
                  <a:lnTo>
                    <a:pt x="219316" y="153011"/>
                  </a:lnTo>
                  <a:lnTo>
                    <a:pt x="182211" y="153011"/>
                  </a:lnTo>
                  <a:lnTo>
                    <a:pt x="182211" y="124067"/>
                  </a:lnTo>
                  <a:lnTo>
                    <a:pt x="172520" y="124067"/>
                  </a:lnTo>
                  <a:lnTo>
                    <a:pt x="172520" y="93592"/>
                  </a:lnTo>
                  <a:lnTo>
                    <a:pt x="137965" y="93592"/>
                  </a:lnTo>
                  <a:lnTo>
                    <a:pt x="137965" y="62225"/>
                  </a:lnTo>
                  <a:lnTo>
                    <a:pt x="90659" y="62225"/>
                  </a:lnTo>
                  <a:lnTo>
                    <a:pt x="90659" y="30475"/>
                  </a:lnTo>
                  <a:lnTo>
                    <a:pt x="45138" y="30475"/>
                  </a:lnTo>
                  <a:lnTo>
                    <a:pt x="45138" y="8926"/>
                  </a:lnTo>
                  <a:lnTo>
                    <a:pt x="20274" y="8926"/>
                  </a:lnTo>
                  <a:lnTo>
                    <a:pt x="20274" y="0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94" name="Grafik 89">
              <a:extLst>
                <a:ext uri="{FF2B5EF4-FFF2-40B4-BE49-F238E27FC236}">
                  <a16:creationId xmlns:a16="http://schemas.microsoft.com/office/drawing/2014/main" id="{E39AEDB3-34A4-9B87-46EA-B5D8327B6D53}"/>
                </a:ext>
              </a:extLst>
            </p:cNvPr>
            <p:cNvGrpSpPr/>
            <p:nvPr/>
          </p:nvGrpSpPr>
          <p:grpSpPr>
            <a:xfrm>
              <a:off x="7092573" y="2360345"/>
              <a:ext cx="47561" cy="44118"/>
              <a:chOff x="7092573" y="2360345"/>
              <a:chExt cx="47561" cy="44118"/>
            </a:xfrm>
          </p:grpSpPr>
          <p:sp>
            <p:nvSpPr>
              <p:cNvPr id="397" name="Freihandform: Form 396">
                <a:extLst>
                  <a:ext uri="{FF2B5EF4-FFF2-40B4-BE49-F238E27FC236}">
                    <a16:creationId xmlns:a16="http://schemas.microsoft.com/office/drawing/2014/main" id="{27580F14-9AA6-3CF3-307F-62A1ED3737BC}"/>
                  </a:ext>
                </a:extLst>
              </p:cNvPr>
              <p:cNvSpPr/>
              <p:nvPr/>
            </p:nvSpPr>
            <p:spPr>
              <a:xfrm>
                <a:off x="7116290" y="2360345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8" name="Freihandform: Form 397">
                <a:extLst>
                  <a:ext uri="{FF2B5EF4-FFF2-40B4-BE49-F238E27FC236}">
                    <a16:creationId xmlns:a16="http://schemas.microsoft.com/office/drawing/2014/main" id="{FB1095EC-9C49-EB1A-70DA-1CB947D4CD09}"/>
                  </a:ext>
                </a:extLst>
              </p:cNvPr>
              <p:cNvSpPr/>
              <p:nvPr/>
            </p:nvSpPr>
            <p:spPr>
              <a:xfrm>
                <a:off x="7092573" y="2382404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95" name="Grafik 89">
              <a:extLst>
                <a:ext uri="{FF2B5EF4-FFF2-40B4-BE49-F238E27FC236}">
                  <a16:creationId xmlns:a16="http://schemas.microsoft.com/office/drawing/2014/main" id="{0C3B40E8-A588-B349-7291-2137D75149D5}"/>
                </a:ext>
              </a:extLst>
            </p:cNvPr>
            <p:cNvGrpSpPr/>
            <p:nvPr/>
          </p:nvGrpSpPr>
          <p:grpSpPr>
            <a:xfrm>
              <a:off x="7062863" y="2417214"/>
              <a:ext cx="47561" cy="44118"/>
              <a:chOff x="7062863" y="2417214"/>
              <a:chExt cx="47561" cy="44118"/>
            </a:xfrm>
          </p:grpSpPr>
          <p:sp>
            <p:nvSpPr>
              <p:cNvPr id="395" name="Freihandform: Form 394">
                <a:extLst>
                  <a:ext uri="{FF2B5EF4-FFF2-40B4-BE49-F238E27FC236}">
                    <a16:creationId xmlns:a16="http://schemas.microsoft.com/office/drawing/2014/main" id="{C0B4F78C-18FD-51EC-D889-7D00A140513A}"/>
                  </a:ext>
                </a:extLst>
              </p:cNvPr>
              <p:cNvSpPr/>
              <p:nvPr/>
            </p:nvSpPr>
            <p:spPr>
              <a:xfrm>
                <a:off x="7086580" y="241721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6" name="Freihandform: Form 395">
                <a:extLst>
                  <a:ext uri="{FF2B5EF4-FFF2-40B4-BE49-F238E27FC236}">
                    <a16:creationId xmlns:a16="http://schemas.microsoft.com/office/drawing/2014/main" id="{0EE42AE4-1C8D-36EB-FA4C-2A7A8F46F840}"/>
                  </a:ext>
                </a:extLst>
              </p:cNvPr>
              <p:cNvSpPr/>
              <p:nvPr/>
            </p:nvSpPr>
            <p:spPr>
              <a:xfrm>
                <a:off x="7062863" y="243927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96" name="Grafik 89">
              <a:extLst>
                <a:ext uri="{FF2B5EF4-FFF2-40B4-BE49-F238E27FC236}">
                  <a16:creationId xmlns:a16="http://schemas.microsoft.com/office/drawing/2014/main" id="{88DA79CE-B1D9-A4B1-FB1A-AAD874977D64}"/>
                </a:ext>
              </a:extLst>
            </p:cNvPr>
            <p:cNvGrpSpPr/>
            <p:nvPr/>
          </p:nvGrpSpPr>
          <p:grpSpPr>
            <a:xfrm>
              <a:off x="6861016" y="2417214"/>
              <a:ext cx="47561" cy="44118"/>
              <a:chOff x="6861016" y="2417214"/>
              <a:chExt cx="47561" cy="44118"/>
            </a:xfrm>
          </p:grpSpPr>
          <p:sp>
            <p:nvSpPr>
              <p:cNvPr id="393" name="Freihandform: Form 392">
                <a:extLst>
                  <a:ext uri="{FF2B5EF4-FFF2-40B4-BE49-F238E27FC236}">
                    <a16:creationId xmlns:a16="http://schemas.microsoft.com/office/drawing/2014/main" id="{AD97E509-15B6-1923-820D-F1E0E37CB329}"/>
                  </a:ext>
                </a:extLst>
              </p:cNvPr>
              <p:cNvSpPr/>
              <p:nvPr/>
            </p:nvSpPr>
            <p:spPr>
              <a:xfrm>
                <a:off x="6884733" y="241721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4" name="Freihandform: Form 393">
                <a:extLst>
                  <a:ext uri="{FF2B5EF4-FFF2-40B4-BE49-F238E27FC236}">
                    <a16:creationId xmlns:a16="http://schemas.microsoft.com/office/drawing/2014/main" id="{5479F62D-7462-9C51-FDBC-83716798500F}"/>
                  </a:ext>
                </a:extLst>
              </p:cNvPr>
              <p:cNvSpPr/>
              <p:nvPr/>
            </p:nvSpPr>
            <p:spPr>
              <a:xfrm>
                <a:off x="6861016" y="243927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97" name="Grafik 89">
              <a:extLst>
                <a:ext uri="{FF2B5EF4-FFF2-40B4-BE49-F238E27FC236}">
                  <a16:creationId xmlns:a16="http://schemas.microsoft.com/office/drawing/2014/main" id="{FD9B633B-EF17-35BF-A656-1DFD32C6D721}"/>
                </a:ext>
              </a:extLst>
            </p:cNvPr>
            <p:cNvGrpSpPr/>
            <p:nvPr/>
          </p:nvGrpSpPr>
          <p:grpSpPr>
            <a:xfrm>
              <a:off x="6685180" y="2417214"/>
              <a:ext cx="47561" cy="44118"/>
              <a:chOff x="6685180" y="2417214"/>
              <a:chExt cx="47561" cy="44118"/>
            </a:xfrm>
          </p:grpSpPr>
          <p:sp>
            <p:nvSpPr>
              <p:cNvPr id="391" name="Freihandform: Form 390">
                <a:extLst>
                  <a:ext uri="{FF2B5EF4-FFF2-40B4-BE49-F238E27FC236}">
                    <a16:creationId xmlns:a16="http://schemas.microsoft.com/office/drawing/2014/main" id="{B79099EF-79B2-708A-52AA-B9293F50C1E3}"/>
                  </a:ext>
                </a:extLst>
              </p:cNvPr>
              <p:cNvSpPr/>
              <p:nvPr/>
            </p:nvSpPr>
            <p:spPr>
              <a:xfrm>
                <a:off x="6709024" y="241721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2" name="Freihandform: Form 391">
                <a:extLst>
                  <a:ext uri="{FF2B5EF4-FFF2-40B4-BE49-F238E27FC236}">
                    <a16:creationId xmlns:a16="http://schemas.microsoft.com/office/drawing/2014/main" id="{453AF3D9-507F-D8D9-CA71-B92B9C894159}"/>
                  </a:ext>
                </a:extLst>
              </p:cNvPr>
              <p:cNvSpPr/>
              <p:nvPr/>
            </p:nvSpPr>
            <p:spPr>
              <a:xfrm>
                <a:off x="6685180" y="243927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98" name="Grafik 89">
              <a:extLst>
                <a:ext uri="{FF2B5EF4-FFF2-40B4-BE49-F238E27FC236}">
                  <a16:creationId xmlns:a16="http://schemas.microsoft.com/office/drawing/2014/main" id="{B349525F-77B6-8D26-7508-1247C454458E}"/>
                </a:ext>
              </a:extLst>
            </p:cNvPr>
            <p:cNvGrpSpPr/>
            <p:nvPr/>
          </p:nvGrpSpPr>
          <p:grpSpPr>
            <a:xfrm>
              <a:off x="6632519" y="2417214"/>
              <a:ext cx="47561" cy="44118"/>
              <a:chOff x="6632519" y="2417214"/>
              <a:chExt cx="47561" cy="44118"/>
            </a:xfrm>
          </p:grpSpPr>
          <p:sp>
            <p:nvSpPr>
              <p:cNvPr id="389" name="Freihandform: Form 388">
                <a:extLst>
                  <a:ext uri="{FF2B5EF4-FFF2-40B4-BE49-F238E27FC236}">
                    <a16:creationId xmlns:a16="http://schemas.microsoft.com/office/drawing/2014/main" id="{AB6C7457-7F0B-D5EE-D612-7602472785C3}"/>
                  </a:ext>
                </a:extLst>
              </p:cNvPr>
              <p:cNvSpPr/>
              <p:nvPr/>
            </p:nvSpPr>
            <p:spPr>
              <a:xfrm>
                <a:off x="6656363" y="241721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0" name="Freihandform: Form 389">
                <a:extLst>
                  <a:ext uri="{FF2B5EF4-FFF2-40B4-BE49-F238E27FC236}">
                    <a16:creationId xmlns:a16="http://schemas.microsoft.com/office/drawing/2014/main" id="{57F605C7-D123-07C2-8EE2-A35CB1D53EF8}"/>
                  </a:ext>
                </a:extLst>
              </p:cNvPr>
              <p:cNvSpPr/>
              <p:nvPr/>
            </p:nvSpPr>
            <p:spPr>
              <a:xfrm>
                <a:off x="6632519" y="243927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99" name="Grafik 89">
              <a:extLst>
                <a:ext uri="{FF2B5EF4-FFF2-40B4-BE49-F238E27FC236}">
                  <a16:creationId xmlns:a16="http://schemas.microsoft.com/office/drawing/2014/main" id="{9D1814FB-F1A1-B463-9606-BC04FCF3939B}"/>
                </a:ext>
              </a:extLst>
            </p:cNvPr>
            <p:cNvGrpSpPr/>
            <p:nvPr/>
          </p:nvGrpSpPr>
          <p:grpSpPr>
            <a:xfrm>
              <a:off x="6563026" y="2417214"/>
              <a:ext cx="47561" cy="44118"/>
              <a:chOff x="6563026" y="2417214"/>
              <a:chExt cx="47561" cy="44118"/>
            </a:xfrm>
          </p:grpSpPr>
          <p:sp>
            <p:nvSpPr>
              <p:cNvPr id="387" name="Freihandform: Form 386">
                <a:extLst>
                  <a:ext uri="{FF2B5EF4-FFF2-40B4-BE49-F238E27FC236}">
                    <a16:creationId xmlns:a16="http://schemas.microsoft.com/office/drawing/2014/main" id="{57DD5860-FB85-CBC4-0733-373EB9D1CB12}"/>
                  </a:ext>
                </a:extLst>
              </p:cNvPr>
              <p:cNvSpPr/>
              <p:nvPr/>
            </p:nvSpPr>
            <p:spPr>
              <a:xfrm>
                <a:off x="6586743" y="241721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8" name="Freihandform: Form 387">
                <a:extLst>
                  <a:ext uri="{FF2B5EF4-FFF2-40B4-BE49-F238E27FC236}">
                    <a16:creationId xmlns:a16="http://schemas.microsoft.com/office/drawing/2014/main" id="{96331D4A-F2E5-D05C-C336-0442CF8D512C}"/>
                  </a:ext>
                </a:extLst>
              </p:cNvPr>
              <p:cNvSpPr/>
              <p:nvPr/>
            </p:nvSpPr>
            <p:spPr>
              <a:xfrm>
                <a:off x="6563026" y="243927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0" name="Grafik 89">
              <a:extLst>
                <a:ext uri="{FF2B5EF4-FFF2-40B4-BE49-F238E27FC236}">
                  <a16:creationId xmlns:a16="http://schemas.microsoft.com/office/drawing/2014/main" id="{4A5905F1-4DE9-C5FF-04EB-E87B9D785C96}"/>
                </a:ext>
              </a:extLst>
            </p:cNvPr>
            <p:cNvGrpSpPr/>
            <p:nvPr/>
          </p:nvGrpSpPr>
          <p:grpSpPr>
            <a:xfrm>
              <a:off x="6382728" y="2277591"/>
              <a:ext cx="47561" cy="44118"/>
              <a:chOff x="6382728" y="2277591"/>
              <a:chExt cx="47561" cy="44118"/>
            </a:xfrm>
          </p:grpSpPr>
          <p:sp>
            <p:nvSpPr>
              <p:cNvPr id="385" name="Freihandform: Form 384">
                <a:extLst>
                  <a:ext uri="{FF2B5EF4-FFF2-40B4-BE49-F238E27FC236}">
                    <a16:creationId xmlns:a16="http://schemas.microsoft.com/office/drawing/2014/main" id="{B0554634-9DA5-D060-E3B4-175C5C3DB02C}"/>
                  </a:ext>
                </a:extLst>
              </p:cNvPr>
              <p:cNvSpPr/>
              <p:nvPr/>
            </p:nvSpPr>
            <p:spPr>
              <a:xfrm>
                <a:off x="6406444" y="227759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6" name="Freihandform: Form 385">
                <a:extLst>
                  <a:ext uri="{FF2B5EF4-FFF2-40B4-BE49-F238E27FC236}">
                    <a16:creationId xmlns:a16="http://schemas.microsoft.com/office/drawing/2014/main" id="{DA57A39E-4370-9AB0-C0BF-5F6BC46E7A6C}"/>
                  </a:ext>
                </a:extLst>
              </p:cNvPr>
              <p:cNvSpPr/>
              <p:nvPr/>
            </p:nvSpPr>
            <p:spPr>
              <a:xfrm>
                <a:off x="6382728" y="229965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1" name="Grafik 89">
              <a:extLst>
                <a:ext uri="{FF2B5EF4-FFF2-40B4-BE49-F238E27FC236}">
                  <a16:creationId xmlns:a16="http://schemas.microsoft.com/office/drawing/2014/main" id="{97F536DF-02E9-1DF5-650D-D18E2D4BBD6F}"/>
                </a:ext>
              </a:extLst>
            </p:cNvPr>
            <p:cNvGrpSpPr/>
            <p:nvPr/>
          </p:nvGrpSpPr>
          <p:grpSpPr>
            <a:xfrm>
              <a:off x="6215563" y="2277591"/>
              <a:ext cx="47561" cy="44118"/>
              <a:chOff x="6215563" y="2277591"/>
              <a:chExt cx="47561" cy="44118"/>
            </a:xfrm>
          </p:grpSpPr>
          <p:sp>
            <p:nvSpPr>
              <p:cNvPr id="383" name="Freihandform: Form 382">
                <a:extLst>
                  <a:ext uri="{FF2B5EF4-FFF2-40B4-BE49-F238E27FC236}">
                    <a16:creationId xmlns:a16="http://schemas.microsoft.com/office/drawing/2014/main" id="{E9B89B35-5938-7A19-3A23-69A13DBEC92B}"/>
                  </a:ext>
                </a:extLst>
              </p:cNvPr>
              <p:cNvSpPr/>
              <p:nvPr/>
            </p:nvSpPr>
            <p:spPr>
              <a:xfrm>
                <a:off x="6239407" y="227759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4" name="Freihandform: Form 383">
                <a:extLst>
                  <a:ext uri="{FF2B5EF4-FFF2-40B4-BE49-F238E27FC236}">
                    <a16:creationId xmlns:a16="http://schemas.microsoft.com/office/drawing/2014/main" id="{A2C03546-D218-F4FF-F2A8-EC724B826384}"/>
                  </a:ext>
                </a:extLst>
              </p:cNvPr>
              <p:cNvSpPr/>
              <p:nvPr/>
            </p:nvSpPr>
            <p:spPr>
              <a:xfrm>
                <a:off x="6215563" y="229965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2" name="Grafik 89">
              <a:extLst>
                <a:ext uri="{FF2B5EF4-FFF2-40B4-BE49-F238E27FC236}">
                  <a16:creationId xmlns:a16="http://schemas.microsoft.com/office/drawing/2014/main" id="{4F6355D8-BC18-0F5A-A2BB-7558E5183C11}"/>
                </a:ext>
              </a:extLst>
            </p:cNvPr>
            <p:cNvGrpSpPr/>
            <p:nvPr/>
          </p:nvGrpSpPr>
          <p:grpSpPr>
            <a:xfrm>
              <a:off x="6083718" y="2277591"/>
              <a:ext cx="47561" cy="44118"/>
              <a:chOff x="6083718" y="2277591"/>
              <a:chExt cx="47561" cy="44118"/>
            </a:xfrm>
          </p:grpSpPr>
          <p:sp>
            <p:nvSpPr>
              <p:cNvPr id="381" name="Freihandform: Form 380">
                <a:extLst>
                  <a:ext uri="{FF2B5EF4-FFF2-40B4-BE49-F238E27FC236}">
                    <a16:creationId xmlns:a16="http://schemas.microsoft.com/office/drawing/2014/main" id="{D5CB67D9-9940-BE33-888E-804E2FA312BA}"/>
                  </a:ext>
                </a:extLst>
              </p:cNvPr>
              <p:cNvSpPr/>
              <p:nvPr/>
            </p:nvSpPr>
            <p:spPr>
              <a:xfrm>
                <a:off x="6107562" y="227759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2" name="Freihandform: Form 381">
                <a:extLst>
                  <a:ext uri="{FF2B5EF4-FFF2-40B4-BE49-F238E27FC236}">
                    <a16:creationId xmlns:a16="http://schemas.microsoft.com/office/drawing/2014/main" id="{8050ED01-B246-FA28-092F-B0C193B8730F}"/>
                  </a:ext>
                </a:extLst>
              </p:cNvPr>
              <p:cNvSpPr/>
              <p:nvPr/>
            </p:nvSpPr>
            <p:spPr>
              <a:xfrm>
                <a:off x="6083718" y="229965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3" name="Grafik 89">
              <a:extLst>
                <a:ext uri="{FF2B5EF4-FFF2-40B4-BE49-F238E27FC236}">
                  <a16:creationId xmlns:a16="http://schemas.microsoft.com/office/drawing/2014/main" id="{22ABA612-232E-5455-A4F6-A66E40EB2292}"/>
                </a:ext>
              </a:extLst>
            </p:cNvPr>
            <p:cNvGrpSpPr/>
            <p:nvPr/>
          </p:nvGrpSpPr>
          <p:grpSpPr>
            <a:xfrm>
              <a:off x="6054391" y="2277591"/>
              <a:ext cx="47561" cy="44118"/>
              <a:chOff x="6054391" y="2277591"/>
              <a:chExt cx="47561" cy="44118"/>
            </a:xfrm>
          </p:grpSpPr>
          <p:sp>
            <p:nvSpPr>
              <p:cNvPr id="379" name="Freihandform: Form 378">
                <a:extLst>
                  <a:ext uri="{FF2B5EF4-FFF2-40B4-BE49-F238E27FC236}">
                    <a16:creationId xmlns:a16="http://schemas.microsoft.com/office/drawing/2014/main" id="{1A27D537-6648-FBE3-E69D-07AA903F8B11}"/>
                  </a:ext>
                </a:extLst>
              </p:cNvPr>
              <p:cNvSpPr/>
              <p:nvPr/>
            </p:nvSpPr>
            <p:spPr>
              <a:xfrm>
                <a:off x="6078235" y="227759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0" name="Freihandform: Form 379">
                <a:extLst>
                  <a:ext uri="{FF2B5EF4-FFF2-40B4-BE49-F238E27FC236}">
                    <a16:creationId xmlns:a16="http://schemas.microsoft.com/office/drawing/2014/main" id="{507357AF-82E5-238D-9D4E-4CD148332D51}"/>
                  </a:ext>
                </a:extLst>
              </p:cNvPr>
              <p:cNvSpPr/>
              <p:nvPr/>
            </p:nvSpPr>
            <p:spPr>
              <a:xfrm>
                <a:off x="6054391" y="229965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4" name="Grafik 89">
              <a:extLst>
                <a:ext uri="{FF2B5EF4-FFF2-40B4-BE49-F238E27FC236}">
                  <a16:creationId xmlns:a16="http://schemas.microsoft.com/office/drawing/2014/main" id="{18AF2605-40BA-EF4D-2732-8134D202F546}"/>
                </a:ext>
              </a:extLst>
            </p:cNvPr>
            <p:cNvGrpSpPr/>
            <p:nvPr/>
          </p:nvGrpSpPr>
          <p:grpSpPr>
            <a:xfrm>
              <a:off x="5998541" y="2277591"/>
              <a:ext cx="47561" cy="44118"/>
              <a:chOff x="5998541" y="2277591"/>
              <a:chExt cx="47561" cy="44118"/>
            </a:xfrm>
          </p:grpSpPr>
          <p:sp>
            <p:nvSpPr>
              <p:cNvPr id="377" name="Freihandform: Form 376">
                <a:extLst>
                  <a:ext uri="{FF2B5EF4-FFF2-40B4-BE49-F238E27FC236}">
                    <a16:creationId xmlns:a16="http://schemas.microsoft.com/office/drawing/2014/main" id="{F8F0CC0D-7743-8D94-C215-0FDCCE842B1A}"/>
                  </a:ext>
                </a:extLst>
              </p:cNvPr>
              <p:cNvSpPr/>
              <p:nvPr/>
            </p:nvSpPr>
            <p:spPr>
              <a:xfrm>
                <a:off x="6022386" y="227759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8" name="Freihandform: Form 377">
                <a:extLst>
                  <a:ext uri="{FF2B5EF4-FFF2-40B4-BE49-F238E27FC236}">
                    <a16:creationId xmlns:a16="http://schemas.microsoft.com/office/drawing/2014/main" id="{8F65D56E-CC05-8E7D-5AA0-1A9F5A695E9C}"/>
                  </a:ext>
                </a:extLst>
              </p:cNvPr>
              <p:cNvSpPr/>
              <p:nvPr/>
            </p:nvSpPr>
            <p:spPr>
              <a:xfrm>
                <a:off x="5998541" y="229965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5" name="Grafik 89">
              <a:extLst>
                <a:ext uri="{FF2B5EF4-FFF2-40B4-BE49-F238E27FC236}">
                  <a16:creationId xmlns:a16="http://schemas.microsoft.com/office/drawing/2014/main" id="{5212511D-D99F-48C1-A01F-52D0A1A9627F}"/>
                </a:ext>
              </a:extLst>
            </p:cNvPr>
            <p:cNvGrpSpPr/>
            <p:nvPr/>
          </p:nvGrpSpPr>
          <p:grpSpPr>
            <a:xfrm>
              <a:off x="5962201" y="2277591"/>
              <a:ext cx="47561" cy="44118"/>
              <a:chOff x="5962201" y="2277591"/>
              <a:chExt cx="47561" cy="44118"/>
            </a:xfrm>
          </p:grpSpPr>
          <p:sp>
            <p:nvSpPr>
              <p:cNvPr id="375" name="Freihandform: Form 374">
                <a:extLst>
                  <a:ext uri="{FF2B5EF4-FFF2-40B4-BE49-F238E27FC236}">
                    <a16:creationId xmlns:a16="http://schemas.microsoft.com/office/drawing/2014/main" id="{41821D8A-CD24-9271-BFC4-60B29EC6B762}"/>
                  </a:ext>
                </a:extLst>
              </p:cNvPr>
              <p:cNvSpPr/>
              <p:nvPr/>
            </p:nvSpPr>
            <p:spPr>
              <a:xfrm>
                <a:off x="5985918" y="227759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6" name="Freihandform: Form 375">
                <a:extLst>
                  <a:ext uri="{FF2B5EF4-FFF2-40B4-BE49-F238E27FC236}">
                    <a16:creationId xmlns:a16="http://schemas.microsoft.com/office/drawing/2014/main" id="{16BBD948-60D0-5088-1D98-A82626A9C021}"/>
                  </a:ext>
                </a:extLst>
              </p:cNvPr>
              <p:cNvSpPr/>
              <p:nvPr/>
            </p:nvSpPr>
            <p:spPr>
              <a:xfrm>
                <a:off x="5962201" y="229965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6" name="Grafik 89">
              <a:extLst>
                <a:ext uri="{FF2B5EF4-FFF2-40B4-BE49-F238E27FC236}">
                  <a16:creationId xmlns:a16="http://schemas.microsoft.com/office/drawing/2014/main" id="{2C3AD3F6-6079-82F9-F077-4DAB17B85D07}"/>
                </a:ext>
              </a:extLst>
            </p:cNvPr>
            <p:cNvGrpSpPr/>
            <p:nvPr/>
          </p:nvGrpSpPr>
          <p:grpSpPr>
            <a:xfrm>
              <a:off x="5893856" y="2277591"/>
              <a:ext cx="47561" cy="44118"/>
              <a:chOff x="5893856" y="2277591"/>
              <a:chExt cx="47561" cy="44118"/>
            </a:xfrm>
          </p:grpSpPr>
          <p:sp>
            <p:nvSpPr>
              <p:cNvPr id="373" name="Freihandform: Form 372">
                <a:extLst>
                  <a:ext uri="{FF2B5EF4-FFF2-40B4-BE49-F238E27FC236}">
                    <a16:creationId xmlns:a16="http://schemas.microsoft.com/office/drawing/2014/main" id="{E79DD51F-49B3-9BC5-E33C-21588AA11C76}"/>
                  </a:ext>
                </a:extLst>
              </p:cNvPr>
              <p:cNvSpPr/>
              <p:nvPr/>
            </p:nvSpPr>
            <p:spPr>
              <a:xfrm>
                <a:off x="5917573" y="227759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Freihandform: Form 373">
                <a:extLst>
                  <a:ext uri="{FF2B5EF4-FFF2-40B4-BE49-F238E27FC236}">
                    <a16:creationId xmlns:a16="http://schemas.microsoft.com/office/drawing/2014/main" id="{21813F88-9000-B4E6-6CF1-AE374F9EE7F7}"/>
                  </a:ext>
                </a:extLst>
              </p:cNvPr>
              <p:cNvSpPr/>
              <p:nvPr/>
            </p:nvSpPr>
            <p:spPr>
              <a:xfrm>
                <a:off x="5893856" y="229965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7" name="Grafik 89">
              <a:extLst>
                <a:ext uri="{FF2B5EF4-FFF2-40B4-BE49-F238E27FC236}">
                  <a16:creationId xmlns:a16="http://schemas.microsoft.com/office/drawing/2014/main" id="{6B02EAAB-0BA4-4127-9EA4-F2F73488C252}"/>
                </a:ext>
              </a:extLst>
            </p:cNvPr>
            <p:cNvGrpSpPr/>
            <p:nvPr/>
          </p:nvGrpSpPr>
          <p:grpSpPr>
            <a:xfrm>
              <a:off x="5653756" y="2201086"/>
              <a:ext cx="47561" cy="44118"/>
              <a:chOff x="5653756" y="2201086"/>
              <a:chExt cx="47561" cy="44118"/>
            </a:xfrm>
          </p:grpSpPr>
          <p:sp>
            <p:nvSpPr>
              <p:cNvPr id="371" name="Freihandform: Form 370">
                <a:extLst>
                  <a:ext uri="{FF2B5EF4-FFF2-40B4-BE49-F238E27FC236}">
                    <a16:creationId xmlns:a16="http://schemas.microsoft.com/office/drawing/2014/main" id="{03AEF2EC-F24A-6214-CEEB-28058663D4A9}"/>
                  </a:ext>
                </a:extLst>
              </p:cNvPr>
              <p:cNvSpPr/>
              <p:nvPr/>
            </p:nvSpPr>
            <p:spPr>
              <a:xfrm>
                <a:off x="5677472" y="2201086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Freihandform: Form 371">
                <a:extLst>
                  <a:ext uri="{FF2B5EF4-FFF2-40B4-BE49-F238E27FC236}">
                    <a16:creationId xmlns:a16="http://schemas.microsoft.com/office/drawing/2014/main" id="{1542B8CE-F1AE-774D-0F13-98CAEED88C6F}"/>
                  </a:ext>
                </a:extLst>
              </p:cNvPr>
              <p:cNvSpPr/>
              <p:nvPr/>
            </p:nvSpPr>
            <p:spPr>
              <a:xfrm>
                <a:off x="5653756" y="2223145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89">
              <a:extLst>
                <a:ext uri="{FF2B5EF4-FFF2-40B4-BE49-F238E27FC236}">
                  <a16:creationId xmlns:a16="http://schemas.microsoft.com/office/drawing/2014/main" id="{FFEC9C18-7F72-5C10-4AEE-86D8A4CFB023}"/>
                </a:ext>
              </a:extLst>
            </p:cNvPr>
            <p:cNvGrpSpPr/>
            <p:nvPr/>
          </p:nvGrpSpPr>
          <p:grpSpPr>
            <a:xfrm>
              <a:off x="5624046" y="2150209"/>
              <a:ext cx="47561" cy="44118"/>
              <a:chOff x="5624046" y="2150209"/>
              <a:chExt cx="47561" cy="44118"/>
            </a:xfrm>
          </p:grpSpPr>
          <p:sp>
            <p:nvSpPr>
              <p:cNvPr id="369" name="Freihandform: Form 368">
                <a:extLst>
                  <a:ext uri="{FF2B5EF4-FFF2-40B4-BE49-F238E27FC236}">
                    <a16:creationId xmlns:a16="http://schemas.microsoft.com/office/drawing/2014/main" id="{E36452B5-4F23-2AD4-40C9-30334CE20661}"/>
                  </a:ext>
                </a:extLst>
              </p:cNvPr>
              <p:cNvSpPr/>
              <p:nvPr/>
            </p:nvSpPr>
            <p:spPr>
              <a:xfrm>
                <a:off x="5647763" y="215020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0" name="Freihandform: Form 369">
                <a:extLst>
                  <a:ext uri="{FF2B5EF4-FFF2-40B4-BE49-F238E27FC236}">
                    <a16:creationId xmlns:a16="http://schemas.microsoft.com/office/drawing/2014/main" id="{7BC0EDF1-2099-737E-A7EB-D1EA332318F4}"/>
                  </a:ext>
                </a:extLst>
              </p:cNvPr>
              <p:cNvSpPr/>
              <p:nvPr/>
            </p:nvSpPr>
            <p:spPr>
              <a:xfrm>
                <a:off x="5624046" y="217226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9" name="Grafik 89">
              <a:extLst>
                <a:ext uri="{FF2B5EF4-FFF2-40B4-BE49-F238E27FC236}">
                  <a16:creationId xmlns:a16="http://schemas.microsoft.com/office/drawing/2014/main" id="{A4182D4B-83B6-4C31-86C3-14FB2724076E}"/>
                </a:ext>
              </a:extLst>
            </p:cNvPr>
            <p:cNvGrpSpPr/>
            <p:nvPr/>
          </p:nvGrpSpPr>
          <p:grpSpPr>
            <a:xfrm>
              <a:off x="5538232" y="2150209"/>
              <a:ext cx="47433" cy="44118"/>
              <a:chOff x="5538232" y="2150209"/>
              <a:chExt cx="47433" cy="44118"/>
            </a:xfrm>
          </p:grpSpPr>
          <p:sp>
            <p:nvSpPr>
              <p:cNvPr id="367" name="Freihandform: Form 366">
                <a:extLst>
                  <a:ext uri="{FF2B5EF4-FFF2-40B4-BE49-F238E27FC236}">
                    <a16:creationId xmlns:a16="http://schemas.microsoft.com/office/drawing/2014/main" id="{BC817F04-6965-2646-E1D8-782B4D20A006}"/>
                  </a:ext>
                </a:extLst>
              </p:cNvPr>
              <p:cNvSpPr/>
              <p:nvPr/>
            </p:nvSpPr>
            <p:spPr>
              <a:xfrm>
                <a:off x="5561949" y="215020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8" name="Freihandform: Form 367">
                <a:extLst>
                  <a:ext uri="{FF2B5EF4-FFF2-40B4-BE49-F238E27FC236}">
                    <a16:creationId xmlns:a16="http://schemas.microsoft.com/office/drawing/2014/main" id="{3CC48575-25D6-4072-4202-7EB363AED361}"/>
                  </a:ext>
                </a:extLst>
              </p:cNvPr>
              <p:cNvSpPr/>
              <p:nvPr/>
            </p:nvSpPr>
            <p:spPr>
              <a:xfrm>
                <a:off x="5538232" y="2172269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0" name="Grafik 89">
              <a:extLst>
                <a:ext uri="{FF2B5EF4-FFF2-40B4-BE49-F238E27FC236}">
                  <a16:creationId xmlns:a16="http://schemas.microsoft.com/office/drawing/2014/main" id="{1B87CD6D-5181-45F6-E595-E56A195D26AE}"/>
                </a:ext>
              </a:extLst>
            </p:cNvPr>
            <p:cNvGrpSpPr/>
            <p:nvPr/>
          </p:nvGrpSpPr>
          <p:grpSpPr>
            <a:xfrm>
              <a:off x="5452291" y="2150209"/>
              <a:ext cx="47561" cy="44118"/>
              <a:chOff x="5452291" y="2150209"/>
              <a:chExt cx="47561" cy="44118"/>
            </a:xfrm>
          </p:grpSpPr>
          <p:sp>
            <p:nvSpPr>
              <p:cNvPr id="365" name="Freihandform: Form 364">
                <a:extLst>
                  <a:ext uri="{FF2B5EF4-FFF2-40B4-BE49-F238E27FC236}">
                    <a16:creationId xmlns:a16="http://schemas.microsoft.com/office/drawing/2014/main" id="{1FA4661B-C72F-4638-8D32-1E28DBC8A349}"/>
                  </a:ext>
                </a:extLst>
              </p:cNvPr>
              <p:cNvSpPr/>
              <p:nvPr/>
            </p:nvSpPr>
            <p:spPr>
              <a:xfrm>
                <a:off x="5476135" y="215020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6" name="Freihandform: Form 365">
                <a:extLst>
                  <a:ext uri="{FF2B5EF4-FFF2-40B4-BE49-F238E27FC236}">
                    <a16:creationId xmlns:a16="http://schemas.microsoft.com/office/drawing/2014/main" id="{E6A7895B-51AA-0AC4-E9D6-DC45168B17BB}"/>
                  </a:ext>
                </a:extLst>
              </p:cNvPr>
              <p:cNvSpPr/>
              <p:nvPr/>
            </p:nvSpPr>
            <p:spPr>
              <a:xfrm>
                <a:off x="5452291" y="217226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1" name="Grafik 89">
              <a:extLst>
                <a:ext uri="{FF2B5EF4-FFF2-40B4-BE49-F238E27FC236}">
                  <a16:creationId xmlns:a16="http://schemas.microsoft.com/office/drawing/2014/main" id="{8901A4D2-9469-95F8-8CD3-E1449DDD2F82}"/>
                </a:ext>
              </a:extLst>
            </p:cNvPr>
            <p:cNvGrpSpPr/>
            <p:nvPr/>
          </p:nvGrpSpPr>
          <p:grpSpPr>
            <a:xfrm>
              <a:off x="5101257" y="2150209"/>
              <a:ext cx="47561" cy="44118"/>
              <a:chOff x="5101257" y="2150209"/>
              <a:chExt cx="47561" cy="44118"/>
            </a:xfrm>
          </p:grpSpPr>
          <p:sp>
            <p:nvSpPr>
              <p:cNvPr id="363" name="Freihandform: Form 362">
                <a:extLst>
                  <a:ext uri="{FF2B5EF4-FFF2-40B4-BE49-F238E27FC236}">
                    <a16:creationId xmlns:a16="http://schemas.microsoft.com/office/drawing/2014/main" id="{C6E08DC2-F9D1-FE7D-4EE7-DD6BAD5EFB99}"/>
                  </a:ext>
                </a:extLst>
              </p:cNvPr>
              <p:cNvSpPr/>
              <p:nvPr/>
            </p:nvSpPr>
            <p:spPr>
              <a:xfrm>
                <a:off x="5124974" y="215020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4" name="Freihandform: Form 363">
                <a:extLst>
                  <a:ext uri="{FF2B5EF4-FFF2-40B4-BE49-F238E27FC236}">
                    <a16:creationId xmlns:a16="http://schemas.microsoft.com/office/drawing/2014/main" id="{D3950382-24A3-5290-1B90-AD0BB1034BA4}"/>
                  </a:ext>
                </a:extLst>
              </p:cNvPr>
              <p:cNvSpPr/>
              <p:nvPr/>
            </p:nvSpPr>
            <p:spPr>
              <a:xfrm>
                <a:off x="5101257" y="217226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2" name="Grafik 89">
              <a:extLst>
                <a:ext uri="{FF2B5EF4-FFF2-40B4-BE49-F238E27FC236}">
                  <a16:creationId xmlns:a16="http://schemas.microsoft.com/office/drawing/2014/main" id="{127D8C65-2176-198C-ADEC-FB7F4E9F5198}"/>
                </a:ext>
              </a:extLst>
            </p:cNvPr>
            <p:cNvGrpSpPr/>
            <p:nvPr/>
          </p:nvGrpSpPr>
          <p:grpSpPr>
            <a:xfrm>
              <a:off x="4844580" y="2150209"/>
              <a:ext cx="47561" cy="44118"/>
              <a:chOff x="4844580" y="2150209"/>
              <a:chExt cx="47561" cy="44118"/>
            </a:xfrm>
          </p:grpSpPr>
          <p:sp>
            <p:nvSpPr>
              <p:cNvPr id="361" name="Freihandform: Form 360">
                <a:extLst>
                  <a:ext uri="{FF2B5EF4-FFF2-40B4-BE49-F238E27FC236}">
                    <a16:creationId xmlns:a16="http://schemas.microsoft.com/office/drawing/2014/main" id="{0220B8AE-7B24-F596-CF03-6C265BBF6C0B}"/>
                  </a:ext>
                </a:extLst>
              </p:cNvPr>
              <p:cNvSpPr/>
              <p:nvPr/>
            </p:nvSpPr>
            <p:spPr>
              <a:xfrm>
                <a:off x="4868425" y="215020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2" name="Freihandform: Form 361">
                <a:extLst>
                  <a:ext uri="{FF2B5EF4-FFF2-40B4-BE49-F238E27FC236}">
                    <a16:creationId xmlns:a16="http://schemas.microsoft.com/office/drawing/2014/main" id="{48E6BAED-F9EE-1E33-0665-758BC0B64D77}"/>
                  </a:ext>
                </a:extLst>
              </p:cNvPr>
              <p:cNvSpPr/>
              <p:nvPr/>
            </p:nvSpPr>
            <p:spPr>
              <a:xfrm>
                <a:off x="4844580" y="217226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3" name="Grafik 89">
              <a:extLst>
                <a:ext uri="{FF2B5EF4-FFF2-40B4-BE49-F238E27FC236}">
                  <a16:creationId xmlns:a16="http://schemas.microsoft.com/office/drawing/2014/main" id="{4213FA08-8DA8-EF0D-B1FF-A76C390F6157}"/>
                </a:ext>
              </a:extLst>
            </p:cNvPr>
            <p:cNvGrpSpPr/>
            <p:nvPr/>
          </p:nvGrpSpPr>
          <p:grpSpPr>
            <a:xfrm>
              <a:off x="4634572" y="2108514"/>
              <a:ext cx="47561" cy="44118"/>
              <a:chOff x="4634572" y="2108514"/>
              <a:chExt cx="47561" cy="44118"/>
            </a:xfrm>
          </p:grpSpPr>
          <p:sp>
            <p:nvSpPr>
              <p:cNvPr id="359" name="Freihandform: Form 358">
                <a:extLst>
                  <a:ext uri="{FF2B5EF4-FFF2-40B4-BE49-F238E27FC236}">
                    <a16:creationId xmlns:a16="http://schemas.microsoft.com/office/drawing/2014/main" id="{6986C4E3-CBB7-FBA2-1FCB-DC13FA1FE53C}"/>
                  </a:ext>
                </a:extLst>
              </p:cNvPr>
              <p:cNvSpPr/>
              <p:nvPr/>
            </p:nvSpPr>
            <p:spPr>
              <a:xfrm>
                <a:off x="4658416" y="210851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0" name="Freihandform: Form 359">
                <a:extLst>
                  <a:ext uri="{FF2B5EF4-FFF2-40B4-BE49-F238E27FC236}">
                    <a16:creationId xmlns:a16="http://schemas.microsoft.com/office/drawing/2014/main" id="{A932028E-5012-13DE-F47C-5D915E021A7C}"/>
                  </a:ext>
                </a:extLst>
              </p:cNvPr>
              <p:cNvSpPr/>
              <p:nvPr/>
            </p:nvSpPr>
            <p:spPr>
              <a:xfrm>
                <a:off x="4634572" y="213057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4" name="Grafik 89">
              <a:extLst>
                <a:ext uri="{FF2B5EF4-FFF2-40B4-BE49-F238E27FC236}">
                  <a16:creationId xmlns:a16="http://schemas.microsoft.com/office/drawing/2014/main" id="{B3E8BDF3-B21A-A6B2-7DE0-7D34DC384212}"/>
                </a:ext>
              </a:extLst>
            </p:cNvPr>
            <p:cNvGrpSpPr/>
            <p:nvPr/>
          </p:nvGrpSpPr>
          <p:grpSpPr>
            <a:xfrm>
              <a:off x="4026607" y="1940839"/>
              <a:ext cx="47561" cy="44118"/>
              <a:chOff x="4026607" y="1940839"/>
              <a:chExt cx="47561" cy="44118"/>
            </a:xfrm>
          </p:grpSpPr>
          <p:sp>
            <p:nvSpPr>
              <p:cNvPr id="357" name="Freihandform: Form 356">
                <a:extLst>
                  <a:ext uri="{FF2B5EF4-FFF2-40B4-BE49-F238E27FC236}">
                    <a16:creationId xmlns:a16="http://schemas.microsoft.com/office/drawing/2014/main" id="{765F6BFC-FACE-29B6-A7D0-5538C49471E9}"/>
                  </a:ext>
                </a:extLst>
              </p:cNvPr>
              <p:cNvSpPr/>
              <p:nvPr/>
            </p:nvSpPr>
            <p:spPr>
              <a:xfrm>
                <a:off x="4050451" y="194083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8" name="Freihandform: Form 357">
                <a:extLst>
                  <a:ext uri="{FF2B5EF4-FFF2-40B4-BE49-F238E27FC236}">
                    <a16:creationId xmlns:a16="http://schemas.microsoft.com/office/drawing/2014/main" id="{95D2AD00-1F95-6B7D-A780-2652BD7E222C}"/>
                  </a:ext>
                </a:extLst>
              </p:cNvPr>
              <p:cNvSpPr/>
              <p:nvPr/>
            </p:nvSpPr>
            <p:spPr>
              <a:xfrm>
                <a:off x="4026607" y="196289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5" name="Grafik 89">
              <a:extLst>
                <a:ext uri="{FF2B5EF4-FFF2-40B4-BE49-F238E27FC236}">
                  <a16:creationId xmlns:a16="http://schemas.microsoft.com/office/drawing/2014/main" id="{2B1D1DCF-9E9F-5841-D6F2-E72C424C2575}"/>
                </a:ext>
              </a:extLst>
            </p:cNvPr>
            <p:cNvGrpSpPr/>
            <p:nvPr/>
          </p:nvGrpSpPr>
          <p:grpSpPr>
            <a:xfrm>
              <a:off x="3994092" y="1940839"/>
              <a:ext cx="47561" cy="44118"/>
              <a:chOff x="3994092" y="1940839"/>
              <a:chExt cx="47561" cy="44118"/>
            </a:xfrm>
          </p:grpSpPr>
          <p:sp>
            <p:nvSpPr>
              <p:cNvPr id="355" name="Freihandform: Form 354">
                <a:extLst>
                  <a:ext uri="{FF2B5EF4-FFF2-40B4-BE49-F238E27FC236}">
                    <a16:creationId xmlns:a16="http://schemas.microsoft.com/office/drawing/2014/main" id="{64B6E7F1-88CE-53D4-498C-34B50A4607A4}"/>
                  </a:ext>
                </a:extLst>
              </p:cNvPr>
              <p:cNvSpPr/>
              <p:nvPr/>
            </p:nvSpPr>
            <p:spPr>
              <a:xfrm>
                <a:off x="4017809" y="194083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6" name="Freihandform: Form 355">
                <a:extLst>
                  <a:ext uri="{FF2B5EF4-FFF2-40B4-BE49-F238E27FC236}">
                    <a16:creationId xmlns:a16="http://schemas.microsoft.com/office/drawing/2014/main" id="{D2626469-7526-4B64-3A3E-21191157A9CD}"/>
                  </a:ext>
                </a:extLst>
              </p:cNvPr>
              <p:cNvSpPr/>
              <p:nvPr/>
            </p:nvSpPr>
            <p:spPr>
              <a:xfrm>
                <a:off x="3994092" y="196289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6" name="Grafik 89">
              <a:extLst>
                <a:ext uri="{FF2B5EF4-FFF2-40B4-BE49-F238E27FC236}">
                  <a16:creationId xmlns:a16="http://schemas.microsoft.com/office/drawing/2014/main" id="{DFB92483-E984-A996-EFE2-3D00DE3C26AD}"/>
                </a:ext>
              </a:extLst>
            </p:cNvPr>
            <p:cNvGrpSpPr/>
            <p:nvPr/>
          </p:nvGrpSpPr>
          <p:grpSpPr>
            <a:xfrm>
              <a:off x="3426802" y="1782089"/>
              <a:ext cx="47561" cy="44118"/>
              <a:chOff x="3426802" y="1782089"/>
              <a:chExt cx="47561" cy="44118"/>
            </a:xfrm>
          </p:grpSpPr>
          <p:sp>
            <p:nvSpPr>
              <p:cNvPr id="353" name="Freihandform: Form 352">
                <a:extLst>
                  <a:ext uri="{FF2B5EF4-FFF2-40B4-BE49-F238E27FC236}">
                    <a16:creationId xmlns:a16="http://schemas.microsoft.com/office/drawing/2014/main" id="{72A03A01-2744-0EA1-F866-E6718AE06AB6}"/>
                  </a:ext>
                </a:extLst>
              </p:cNvPr>
              <p:cNvSpPr/>
              <p:nvPr/>
            </p:nvSpPr>
            <p:spPr>
              <a:xfrm>
                <a:off x="3450519" y="178208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4" name="Freihandform: Form 353">
                <a:extLst>
                  <a:ext uri="{FF2B5EF4-FFF2-40B4-BE49-F238E27FC236}">
                    <a16:creationId xmlns:a16="http://schemas.microsoft.com/office/drawing/2014/main" id="{13E0F5B1-6BFC-EF85-B8A1-5DC42D0A8CA2}"/>
                  </a:ext>
                </a:extLst>
              </p:cNvPr>
              <p:cNvSpPr/>
              <p:nvPr/>
            </p:nvSpPr>
            <p:spPr>
              <a:xfrm>
                <a:off x="3426802" y="180414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7" name="Grafik 89">
              <a:extLst>
                <a:ext uri="{FF2B5EF4-FFF2-40B4-BE49-F238E27FC236}">
                  <a16:creationId xmlns:a16="http://schemas.microsoft.com/office/drawing/2014/main" id="{120D1414-EC30-9039-200B-F4E15075F8A6}"/>
                </a:ext>
              </a:extLst>
            </p:cNvPr>
            <p:cNvGrpSpPr/>
            <p:nvPr/>
          </p:nvGrpSpPr>
          <p:grpSpPr>
            <a:xfrm>
              <a:off x="3287689" y="1705201"/>
              <a:ext cx="47433" cy="44118"/>
              <a:chOff x="3287689" y="1705201"/>
              <a:chExt cx="47433" cy="44118"/>
            </a:xfrm>
          </p:grpSpPr>
          <p:sp>
            <p:nvSpPr>
              <p:cNvPr id="351" name="Freihandform: Form 350">
                <a:extLst>
                  <a:ext uri="{FF2B5EF4-FFF2-40B4-BE49-F238E27FC236}">
                    <a16:creationId xmlns:a16="http://schemas.microsoft.com/office/drawing/2014/main" id="{4C9F9DC1-E38B-7A14-5F89-3C728B18C574}"/>
                  </a:ext>
                </a:extLst>
              </p:cNvPr>
              <p:cNvSpPr/>
              <p:nvPr/>
            </p:nvSpPr>
            <p:spPr>
              <a:xfrm>
                <a:off x="3311406" y="170520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2" name="Freihandform: Form 351">
                <a:extLst>
                  <a:ext uri="{FF2B5EF4-FFF2-40B4-BE49-F238E27FC236}">
                    <a16:creationId xmlns:a16="http://schemas.microsoft.com/office/drawing/2014/main" id="{285E4A2A-4319-BAE4-0C39-E6A8CBA7B459}"/>
                  </a:ext>
                </a:extLst>
              </p:cNvPr>
              <p:cNvSpPr/>
              <p:nvPr/>
            </p:nvSpPr>
            <p:spPr>
              <a:xfrm>
                <a:off x="3287689" y="1727260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8" name="Grafik 89">
              <a:extLst>
                <a:ext uri="{FF2B5EF4-FFF2-40B4-BE49-F238E27FC236}">
                  <a16:creationId xmlns:a16="http://schemas.microsoft.com/office/drawing/2014/main" id="{5E9EECE2-7511-6416-407F-99C6FF272747}"/>
                </a:ext>
              </a:extLst>
            </p:cNvPr>
            <p:cNvGrpSpPr/>
            <p:nvPr/>
          </p:nvGrpSpPr>
          <p:grpSpPr>
            <a:xfrm>
              <a:off x="3062125" y="1633923"/>
              <a:ext cx="47561" cy="44245"/>
              <a:chOff x="3062125" y="1633923"/>
              <a:chExt cx="47561" cy="44245"/>
            </a:xfrm>
          </p:grpSpPr>
          <p:sp>
            <p:nvSpPr>
              <p:cNvPr id="349" name="Freihandform: Form 348">
                <a:extLst>
                  <a:ext uri="{FF2B5EF4-FFF2-40B4-BE49-F238E27FC236}">
                    <a16:creationId xmlns:a16="http://schemas.microsoft.com/office/drawing/2014/main" id="{4C72C4CA-8177-5227-DFD8-3489DCC720A2}"/>
                  </a:ext>
                </a:extLst>
              </p:cNvPr>
              <p:cNvSpPr/>
              <p:nvPr/>
            </p:nvSpPr>
            <p:spPr>
              <a:xfrm>
                <a:off x="3085969" y="1633923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0" name="Freihandform: Form 349">
                <a:extLst>
                  <a:ext uri="{FF2B5EF4-FFF2-40B4-BE49-F238E27FC236}">
                    <a16:creationId xmlns:a16="http://schemas.microsoft.com/office/drawing/2014/main" id="{12E5F4E2-F292-603B-17BD-7814F3D6D378}"/>
                  </a:ext>
                </a:extLst>
              </p:cNvPr>
              <p:cNvSpPr/>
              <p:nvPr/>
            </p:nvSpPr>
            <p:spPr>
              <a:xfrm>
                <a:off x="3062125" y="165598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9" name="Grafik 89">
              <a:extLst>
                <a:ext uri="{FF2B5EF4-FFF2-40B4-BE49-F238E27FC236}">
                  <a16:creationId xmlns:a16="http://schemas.microsoft.com/office/drawing/2014/main" id="{C55895D2-0523-A39E-1DF9-17952411FD6F}"/>
                </a:ext>
              </a:extLst>
            </p:cNvPr>
            <p:cNvGrpSpPr/>
            <p:nvPr/>
          </p:nvGrpSpPr>
          <p:grpSpPr>
            <a:xfrm>
              <a:off x="3055239" y="1633923"/>
              <a:ext cx="47561" cy="44245"/>
              <a:chOff x="3055239" y="1633923"/>
              <a:chExt cx="47561" cy="44245"/>
            </a:xfrm>
          </p:grpSpPr>
          <p:sp>
            <p:nvSpPr>
              <p:cNvPr id="347" name="Freihandform: Form 346">
                <a:extLst>
                  <a:ext uri="{FF2B5EF4-FFF2-40B4-BE49-F238E27FC236}">
                    <a16:creationId xmlns:a16="http://schemas.microsoft.com/office/drawing/2014/main" id="{2336DA5D-FC0E-D408-0757-A09010F585CE}"/>
                  </a:ext>
                </a:extLst>
              </p:cNvPr>
              <p:cNvSpPr/>
              <p:nvPr/>
            </p:nvSpPr>
            <p:spPr>
              <a:xfrm>
                <a:off x="3079083" y="1633923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8" name="Freihandform: Form 347">
                <a:extLst>
                  <a:ext uri="{FF2B5EF4-FFF2-40B4-BE49-F238E27FC236}">
                    <a16:creationId xmlns:a16="http://schemas.microsoft.com/office/drawing/2014/main" id="{5AF509B3-3DF0-C9ED-59DB-35CF509B003C}"/>
                  </a:ext>
                </a:extLst>
              </p:cNvPr>
              <p:cNvSpPr/>
              <p:nvPr/>
            </p:nvSpPr>
            <p:spPr>
              <a:xfrm>
                <a:off x="3055239" y="165598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0" name="Grafik 89">
              <a:extLst>
                <a:ext uri="{FF2B5EF4-FFF2-40B4-BE49-F238E27FC236}">
                  <a16:creationId xmlns:a16="http://schemas.microsoft.com/office/drawing/2014/main" id="{1B51A718-E087-6894-5197-89DB26AC001F}"/>
                </a:ext>
              </a:extLst>
            </p:cNvPr>
            <p:cNvGrpSpPr/>
            <p:nvPr/>
          </p:nvGrpSpPr>
          <p:grpSpPr>
            <a:xfrm>
              <a:off x="3018261" y="1633923"/>
              <a:ext cx="47561" cy="44245"/>
              <a:chOff x="3018261" y="1633923"/>
              <a:chExt cx="47561" cy="44245"/>
            </a:xfrm>
          </p:grpSpPr>
          <p:sp>
            <p:nvSpPr>
              <p:cNvPr id="345" name="Freihandform: Form 344">
                <a:extLst>
                  <a:ext uri="{FF2B5EF4-FFF2-40B4-BE49-F238E27FC236}">
                    <a16:creationId xmlns:a16="http://schemas.microsoft.com/office/drawing/2014/main" id="{A349885C-7487-9344-9B7E-4D7692605703}"/>
                  </a:ext>
                </a:extLst>
              </p:cNvPr>
              <p:cNvSpPr/>
              <p:nvPr/>
            </p:nvSpPr>
            <p:spPr>
              <a:xfrm>
                <a:off x="3041978" y="1633923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6" name="Freihandform: Form 345">
                <a:extLst>
                  <a:ext uri="{FF2B5EF4-FFF2-40B4-BE49-F238E27FC236}">
                    <a16:creationId xmlns:a16="http://schemas.microsoft.com/office/drawing/2014/main" id="{B4EC759D-C41B-D9C5-6118-27C3E9EB33FA}"/>
                  </a:ext>
                </a:extLst>
              </p:cNvPr>
              <p:cNvSpPr/>
              <p:nvPr/>
            </p:nvSpPr>
            <p:spPr>
              <a:xfrm>
                <a:off x="3018261" y="165598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1" name="Grafik 89">
              <a:extLst>
                <a:ext uri="{FF2B5EF4-FFF2-40B4-BE49-F238E27FC236}">
                  <a16:creationId xmlns:a16="http://schemas.microsoft.com/office/drawing/2014/main" id="{BA9CC9C7-7A48-238E-8059-7F4BC03C0571}"/>
                </a:ext>
              </a:extLst>
            </p:cNvPr>
            <p:cNvGrpSpPr/>
            <p:nvPr/>
          </p:nvGrpSpPr>
          <p:grpSpPr>
            <a:xfrm>
              <a:off x="2889987" y="1600261"/>
              <a:ext cx="47561" cy="44118"/>
              <a:chOff x="2889987" y="1600261"/>
              <a:chExt cx="47561" cy="44118"/>
            </a:xfrm>
          </p:grpSpPr>
          <p:sp>
            <p:nvSpPr>
              <p:cNvPr id="343" name="Freihandform: Form 342">
                <a:extLst>
                  <a:ext uri="{FF2B5EF4-FFF2-40B4-BE49-F238E27FC236}">
                    <a16:creationId xmlns:a16="http://schemas.microsoft.com/office/drawing/2014/main" id="{A3FED3C0-D059-3673-370E-DF4427DB8936}"/>
                  </a:ext>
                </a:extLst>
              </p:cNvPr>
              <p:cNvSpPr/>
              <p:nvPr/>
            </p:nvSpPr>
            <p:spPr>
              <a:xfrm>
                <a:off x="2913831" y="160026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4" name="Freihandform: Form 343">
                <a:extLst>
                  <a:ext uri="{FF2B5EF4-FFF2-40B4-BE49-F238E27FC236}">
                    <a16:creationId xmlns:a16="http://schemas.microsoft.com/office/drawing/2014/main" id="{9D1E4654-D76B-689F-1455-263A4302FC43}"/>
                  </a:ext>
                </a:extLst>
              </p:cNvPr>
              <p:cNvSpPr/>
              <p:nvPr/>
            </p:nvSpPr>
            <p:spPr>
              <a:xfrm>
                <a:off x="2889987" y="162232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2" name="Grafik 89">
              <a:extLst>
                <a:ext uri="{FF2B5EF4-FFF2-40B4-BE49-F238E27FC236}">
                  <a16:creationId xmlns:a16="http://schemas.microsoft.com/office/drawing/2014/main" id="{718622D5-6BE4-21FF-E325-15EB84F0C5B3}"/>
                </a:ext>
              </a:extLst>
            </p:cNvPr>
            <p:cNvGrpSpPr/>
            <p:nvPr/>
          </p:nvGrpSpPr>
          <p:grpSpPr>
            <a:xfrm>
              <a:off x="2795247" y="1563921"/>
              <a:ext cx="47561" cy="44245"/>
              <a:chOff x="2795247" y="1563921"/>
              <a:chExt cx="47561" cy="44245"/>
            </a:xfrm>
          </p:grpSpPr>
          <p:sp>
            <p:nvSpPr>
              <p:cNvPr id="341" name="Freihandform: Form 340">
                <a:extLst>
                  <a:ext uri="{FF2B5EF4-FFF2-40B4-BE49-F238E27FC236}">
                    <a16:creationId xmlns:a16="http://schemas.microsoft.com/office/drawing/2014/main" id="{04BF0A40-0522-31C4-F4EC-2E43E7C0E450}"/>
                  </a:ext>
                </a:extLst>
              </p:cNvPr>
              <p:cNvSpPr/>
              <p:nvPr/>
            </p:nvSpPr>
            <p:spPr>
              <a:xfrm>
                <a:off x="2818964" y="1563921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2" name="Freihandform: Form 341">
                <a:extLst>
                  <a:ext uri="{FF2B5EF4-FFF2-40B4-BE49-F238E27FC236}">
                    <a16:creationId xmlns:a16="http://schemas.microsoft.com/office/drawing/2014/main" id="{F45FEA38-CE35-2F91-597E-B0F250860D55}"/>
                  </a:ext>
                </a:extLst>
              </p:cNvPr>
              <p:cNvSpPr/>
              <p:nvPr/>
            </p:nvSpPr>
            <p:spPr>
              <a:xfrm>
                <a:off x="2795247" y="1586107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3" name="Grafik 89">
              <a:extLst>
                <a:ext uri="{FF2B5EF4-FFF2-40B4-BE49-F238E27FC236}">
                  <a16:creationId xmlns:a16="http://schemas.microsoft.com/office/drawing/2014/main" id="{2B028B15-9B7E-E1B3-1B39-6F6739774253}"/>
                </a:ext>
              </a:extLst>
            </p:cNvPr>
            <p:cNvGrpSpPr/>
            <p:nvPr/>
          </p:nvGrpSpPr>
          <p:grpSpPr>
            <a:xfrm>
              <a:off x="2593400" y="1463826"/>
              <a:ext cx="47561" cy="44245"/>
              <a:chOff x="2593400" y="1463826"/>
              <a:chExt cx="47561" cy="44245"/>
            </a:xfrm>
          </p:grpSpPr>
          <p:sp>
            <p:nvSpPr>
              <p:cNvPr id="339" name="Freihandform: Form 338">
                <a:extLst>
                  <a:ext uri="{FF2B5EF4-FFF2-40B4-BE49-F238E27FC236}">
                    <a16:creationId xmlns:a16="http://schemas.microsoft.com/office/drawing/2014/main" id="{86158D36-373B-9292-1D04-5289A6B8220D}"/>
                  </a:ext>
                </a:extLst>
              </p:cNvPr>
              <p:cNvSpPr/>
              <p:nvPr/>
            </p:nvSpPr>
            <p:spPr>
              <a:xfrm>
                <a:off x="2617117" y="1463826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0" name="Freihandform: Form 339">
                <a:extLst>
                  <a:ext uri="{FF2B5EF4-FFF2-40B4-BE49-F238E27FC236}">
                    <a16:creationId xmlns:a16="http://schemas.microsoft.com/office/drawing/2014/main" id="{5A7630F1-EEAA-AA26-380B-6535EA497817}"/>
                  </a:ext>
                </a:extLst>
              </p:cNvPr>
              <p:cNvSpPr/>
              <p:nvPr/>
            </p:nvSpPr>
            <p:spPr>
              <a:xfrm>
                <a:off x="2593400" y="1485885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4" name="Grafik 89">
              <a:extLst>
                <a:ext uri="{FF2B5EF4-FFF2-40B4-BE49-F238E27FC236}">
                  <a16:creationId xmlns:a16="http://schemas.microsoft.com/office/drawing/2014/main" id="{A9B75CA2-D21D-78BB-F344-A6E9579531CE}"/>
                </a:ext>
              </a:extLst>
            </p:cNvPr>
            <p:cNvGrpSpPr/>
            <p:nvPr/>
          </p:nvGrpSpPr>
          <p:grpSpPr>
            <a:xfrm>
              <a:off x="2581159" y="1463826"/>
              <a:ext cx="47561" cy="44245"/>
              <a:chOff x="2581159" y="1463826"/>
              <a:chExt cx="47561" cy="44245"/>
            </a:xfrm>
          </p:grpSpPr>
          <p:sp>
            <p:nvSpPr>
              <p:cNvPr id="337" name="Freihandform: Form 336">
                <a:extLst>
                  <a:ext uri="{FF2B5EF4-FFF2-40B4-BE49-F238E27FC236}">
                    <a16:creationId xmlns:a16="http://schemas.microsoft.com/office/drawing/2014/main" id="{BFB61A4D-DCD7-B59F-D079-30C7231DA34C}"/>
                  </a:ext>
                </a:extLst>
              </p:cNvPr>
              <p:cNvSpPr/>
              <p:nvPr/>
            </p:nvSpPr>
            <p:spPr>
              <a:xfrm>
                <a:off x="2604876" y="1463826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8" name="Freihandform: Form 337">
                <a:extLst>
                  <a:ext uri="{FF2B5EF4-FFF2-40B4-BE49-F238E27FC236}">
                    <a16:creationId xmlns:a16="http://schemas.microsoft.com/office/drawing/2014/main" id="{7D3C2BB5-3297-5311-58CD-FF7889550291}"/>
                  </a:ext>
                </a:extLst>
              </p:cNvPr>
              <p:cNvSpPr/>
              <p:nvPr/>
            </p:nvSpPr>
            <p:spPr>
              <a:xfrm>
                <a:off x="2581159" y="1485885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5" name="Grafik 89">
              <a:extLst>
                <a:ext uri="{FF2B5EF4-FFF2-40B4-BE49-F238E27FC236}">
                  <a16:creationId xmlns:a16="http://schemas.microsoft.com/office/drawing/2014/main" id="{D3271FE9-BDD4-78CD-FA2A-536136E10753}"/>
                </a:ext>
              </a:extLst>
            </p:cNvPr>
            <p:cNvGrpSpPr/>
            <p:nvPr/>
          </p:nvGrpSpPr>
          <p:grpSpPr>
            <a:xfrm>
              <a:off x="2494452" y="1437431"/>
              <a:ext cx="47561" cy="44118"/>
              <a:chOff x="2494452" y="1437431"/>
              <a:chExt cx="47561" cy="44118"/>
            </a:xfrm>
          </p:grpSpPr>
          <p:sp>
            <p:nvSpPr>
              <p:cNvPr id="335" name="Freihandform: Form 334">
                <a:extLst>
                  <a:ext uri="{FF2B5EF4-FFF2-40B4-BE49-F238E27FC236}">
                    <a16:creationId xmlns:a16="http://schemas.microsoft.com/office/drawing/2014/main" id="{40B76826-B778-CC80-9D84-E0260F669E4E}"/>
                  </a:ext>
                </a:extLst>
              </p:cNvPr>
              <p:cNvSpPr/>
              <p:nvPr/>
            </p:nvSpPr>
            <p:spPr>
              <a:xfrm>
                <a:off x="2518297" y="1437431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6" name="Freihandform: Form 335">
                <a:extLst>
                  <a:ext uri="{FF2B5EF4-FFF2-40B4-BE49-F238E27FC236}">
                    <a16:creationId xmlns:a16="http://schemas.microsoft.com/office/drawing/2014/main" id="{11F889C0-E39D-B59F-916E-798517AD227B}"/>
                  </a:ext>
                </a:extLst>
              </p:cNvPr>
              <p:cNvSpPr/>
              <p:nvPr/>
            </p:nvSpPr>
            <p:spPr>
              <a:xfrm>
                <a:off x="2494452" y="1459490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6" name="Grafik 89">
              <a:extLst>
                <a:ext uri="{FF2B5EF4-FFF2-40B4-BE49-F238E27FC236}">
                  <a16:creationId xmlns:a16="http://schemas.microsoft.com/office/drawing/2014/main" id="{7E14DF58-F6B5-25C4-9B5F-1D9FC1A62A07}"/>
                </a:ext>
              </a:extLst>
            </p:cNvPr>
            <p:cNvGrpSpPr/>
            <p:nvPr/>
          </p:nvGrpSpPr>
          <p:grpSpPr>
            <a:xfrm>
              <a:off x="2463978" y="1428506"/>
              <a:ext cx="47561" cy="44118"/>
              <a:chOff x="2463978" y="1428506"/>
              <a:chExt cx="47561" cy="44118"/>
            </a:xfrm>
          </p:grpSpPr>
          <p:sp>
            <p:nvSpPr>
              <p:cNvPr id="333" name="Freihandform: Form 332">
                <a:extLst>
                  <a:ext uri="{FF2B5EF4-FFF2-40B4-BE49-F238E27FC236}">
                    <a16:creationId xmlns:a16="http://schemas.microsoft.com/office/drawing/2014/main" id="{D357B8DC-3A23-50C6-43C4-267D54F3AA56}"/>
                  </a:ext>
                </a:extLst>
              </p:cNvPr>
              <p:cNvSpPr/>
              <p:nvPr/>
            </p:nvSpPr>
            <p:spPr>
              <a:xfrm>
                <a:off x="2487694" y="1428506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4" name="Freihandform: Form 333">
                <a:extLst>
                  <a:ext uri="{FF2B5EF4-FFF2-40B4-BE49-F238E27FC236}">
                    <a16:creationId xmlns:a16="http://schemas.microsoft.com/office/drawing/2014/main" id="{62C3098F-F13F-F110-628D-A7AADA482E9D}"/>
                  </a:ext>
                </a:extLst>
              </p:cNvPr>
              <p:cNvSpPr/>
              <p:nvPr/>
            </p:nvSpPr>
            <p:spPr>
              <a:xfrm>
                <a:off x="2463978" y="1450565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7" name="Grafik 89">
              <a:extLst>
                <a:ext uri="{FF2B5EF4-FFF2-40B4-BE49-F238E27FC236}">
                  <a16:creationId xmlns:a16="http://schemas.microsoft.com/office/drawing/2014/main" id="{F2AD963C-6064-B99D-147F-1D97AEDF274B}"/>
                </a:ext>
              </a:extLst>
            </p:cNvPr>
            <p:cNvGrpSpPr/>
            <p:nvPr/>
          </p:nvGrpSpPr>
          <p:grpSpPr>
            <a:xfrm>
              <a:off x="2403283" y="1368704"/>
              <a:ext cx="47561" cy="44118"/>
              <a:chOff x="2403283" y="1368704"/>
              <a:chExt cx="47561" cy="44118"/>
            </a:xfrm>
          </p:grpSpPr>
          <p:sp>
            <p:nvSpPr>
              <p:cNvPr id="331" name="Freihandform: Form 330">
                <a:extLst>
                  <a:ext uri="{FF2B5EF4-FFF2-40B4-BE49-F238E27FC236}">
                    <a16:creationId xmlns:a16="http://schemas.microsoft.com/office/drawing/2014/main" id="{F72924B5-AD8B-E960-202E-0262EBA6F9DE}"/>
                  </a:ext>
                </a:extLst>
              </p:cNvPr>
              <p:cNvSpPr/>
              <p:nvPr/>
            </p:nvSpPr>
            <p:spPr>
              <a:xfrm>
                <a:off x="2427127" y="136870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Freihandform: Form 331">
                <a:extLst>
                  <a:ext uri="{FF2B5EF4-FFF2-40B4-BE49-F238E27FC236}">
                    <a16:creationId xmlns:a16="http://schemas.microsoft.com/office/drawing/2014/main" id="{4921F86D-9333-738C-FD00-58966EF801C7}"/>
                  </a:ext>
                </a:extLst>
              </p:cNvPr>
              <p:cNvSpPr/>
              <p:nvPr/>
            </p:nvSpPr>
            <p:spPr>
              <a:xfrm>
                <a:off x="2403283" y="139076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8" name="Grafik 89">
              <a:extLst>
                <a:ext uri="{FF2B5EF4-FFF2-40B4-BE49-F238E27FC236}">
                  <a16:creationId xmlns:a16="http://schemas.microsoft.com/office/drawing/2014/main" id="{8C5B2160-446B-E93F-95D8-DB40B93C45C8}"/>
                </a:ext>
              </a:extLst>
            </p:cNvPr>
            <p:cNvGrpSpPr/>
            <p:nvPr/>
          </p:nvGrpSpPr>
          <p:grpSpPr>
            <a:xfrm>
              <a:off x="2190470" y="1178969"/>
              <a:ext cx="47561" cy="44118"/>
              <a:chOff x="2190470" y="1178969"/>
              <a:chExt cx="47561" cy="44118"/>
            </a:xfrm>
          </p:grpSpPr>
          <p:sp>
            <p:nvSpPr>
              <p:cNvPr id="329" name="Freihandform: Form 328">
                <a:extLst>
                  <a:ext uri="{FF2B5EF4-FFF2-40B4-BE49-F238E27FC236}">
                    <a16:creationId xmlns:a16="http://schemas.microsoft.com/office/drawing/2014/main" id="{D1604DC5-6AC0-4ACD-C00B-F35A77BD7ADF}"/>
                  </a:ext>
                </a:extLst>
              </p:cNvPr>
              <p:cNvSpPr/>
              <p:nvPr/>
            </p:nvSpPr>
            <p:spPr>
              <a:xfrm>
                <a:off x="2214314" y="1178969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Freihandform: Form 329">
                <a:extLst>
                  <a:ext uri="{FF2B5EF4-FFF2-40B4-BE49-F238E27FC236}">
                    <a16:creationId xmlns:a16="http://schemas.microsoft.com/office/drawing/2014/main" id="{BD4A3D25-9CC6-339B-65E5-F56B1E0F54A7}"/>
                  </a:ext>
                </a:extLst>
              </p:cNvPr>
              <p:cNvSpPr/>
              <p:nvPr/>
            </p:nvSpPr>
            <p:spPr>
              <a:xfrm>
                <a:off x="2190470" y="120102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99" name="Grafik 89">
            <a:extLst>
              <a:ext uri="{FF2B5EF4-FFF2-40B4-BE49-F238E27FC236}">
                <a16:creationId xmlns:a16="http://schemas.microsoft.com/office/drawing/2014/main" id="{EB4D862F-7840-7335-C60F-F81B51EA1A0F}"/>
              </a:ext>
            </a:extLst>
          </p:cNvPr>
          <p:cNvGrpSpPr/>
          <p:nvPr/>
        </p:nvGrpSpPr>
        <p:grpSpPr>
          <a:xfrm>
            <a:off x="2598480" y="1100195"/>
            <a:ext cx="4752789" cy="1024538"/>
            <a:chOff x="2127863" y="1173359"/>
            <a:chExt cx="4752789" cy="1024538"/>
          </a:xfrm>
          <a:noFill/>
        </p:grpSpPr>
        <p:sp>
          <p:nvSpPr>
            <p:cNvPr id="400" name="Freihandform: Form 399">
              <a:extLst>
                <a:ext uri="{FF2B5EF4-FFF2-40B4-BE49-F238E27FC236}">
                  <a16:creationId xmlns:a16="http://schemas.microsoft.com/office/drawing/2014/main" id="{01FED6E4-71C6-A5B8-81B5-979FE3475AC5}"/>
                </a:ext>
              </a:extLst>
            </p:cNvPr>
            <p:cNvSpPr/>
            <p:nvPr/>
          </p:nvSpPr>
          <p:spPr>
            <a:xfrm>
              <a:off x="2127863" y="1173359"/>
              <a:ext cx="4731495" cy="1002989"/>
            </a:xfrm>
            <a:custGeom>
              <a:avLst/>
              <a:gdLst>
                <a:gd name="connsiteX0" fmla="*/ 4731496 w 4731495"/>
                <a:gd name="connsiteY0" fmla="*/ 1002990 h 1002989"/>
                <a:gd name="connsiteX1" fmla="*/ 3614895 w 4731495"/>
                <a:gd name="connsiteY1" fmla="*/ 1002990 h 1002989"/>
                <a:gd name="connsiteX2" fmla="*/ 3614895 w 4731495"/>
                <a:gd name="connsiteY2" fmla="*/ 963079 h 1002989"/>
                <a:gd name="connsiteX3" fmla="*/ 3481647 w 4731495"/>
                <a:gd name="connsiteY3" fmla="*/ 963079 h 1002989"/>
                <a:gd name="connsiteX4" fmla="*/ 3481647 w 4731495"/>
                <a:gd name="connsiteY4" fmla="*/ 927504 h 1002989"/>
                <a:gd name="connsiteX5" fmla="*/ 2952101 w 4731495"/>
                <a:gd name="connsiteY5" fmla="*/ 927504 h 1002989"/>
                <a:gd name="connsiteX6" fmla="*/ 2952101 w 4731495"/>
                <a:gd name="connsiteY6" fmla="*/ 898815 h 1002989"/>
                <a:gd name="connsiteX7" fmla="*/ 2745025 w 4731495"/>
                <a:gd name="connsiteY7" fmla="*/ 898815 h 1002989"/>
                <a:gd name="connsiteX8" fmla="*/ 2745025 w 4731495"/>
                <a:gd name="connsiteY8" fmla="*/ 865025 h 1002989"/>
                <a:gd name="connsiteX9" fmla="*/ 2704732 w 4731495"/>
                <a:gd name="connsiteY9" fmla="*/ 865025 h 1002989"/>
                <a:gd name="connsiteX10" fmla="*/ 2704732 w 4731495"/>
                <a:gd name="connsiteY10" fmla="*/ 834167 h 1002989"/>
                <a:gd name="connsiteX11" fmla="*/ 2558224 w 4731495"/>
                <a:gd name="connsiteY11" fmla="*/ 834167 h 1002989"/>
                <a:gd name="connsiteX12" fmla="*/ 2558224 w 4731495"/>
                <a:gd name="connsiteY12" fmla="*/ 808028 h 1002989"/>
                <a:gd name="connsiteX13" fmla="*/ 2514998 w 4731495"/>
                <a:gd name="connsiteY13" fmla="*/ 808028 h 1002989"/>
                <a:gd name="connsiteX14" fmla="*/ 2514998 w 4731495"/>
                <a:gd name="connsiteY14" fmla="*/ 776533 h 1002989"/>
                <a:gd name="connsiteX15" fmla="*/ 2318251 w 4731495"/>
                <a:gd name="connsiteY15" fmla="*/ 776533 h 1002989"/>
                <a:gd name="connsiteX16" fmla="*/ 2318251 w 4731495"/>
                <a:gd name="connsiteY16" fmla="*/ 747843 h 1002989"/>
                <a:gd name="connsiteX17" fmla="*/ 2304225 w 4731495"/>
                <a:gd name="connsiteY17" fmla="*/ 747843 h 1002989"/>
                <a:gd name="connsiteX18" fmla="*/ 2304225 w 4731495"/>
                <a:gd name="connsiteY18" fmla="*/ 722596 h 1002989"/>
                <a:gd name="connsiteX19" fmla="*/ 2261764 w 4731495"/>
                <a:gd name="connsiteY19" fmla="*/ 722596 h 1002989"/>
                <a:gd name="connsiteX20" fmla="*/ 2261764 w 4731495"/>
                <a:gd name="connsiteY20" fmla="*/ 693142 h 1002989"/>
                <a:gd name="connsiteX21" fmla="*/ 2239577 w 4731495"/>
                <a:gd name="connsiteY21" fmla="*/ 693142 h 1002989"/>
                <a:gd name="connsiteX22" fmla="*/ 2239577 w 4731495"/>
                <a:gd name="connsiteY22" fmla="*/ 665472 h 1002989"/>
                <a:gd name="connsiteX23" fmla="*/ 1893644 w 4731495"/>
                <a:gd name="connsiteY23" fmla="*/ 665472 h 1002989"/>
                <a:gd name="connsiteX24" fmla="*/ 1893644 w 4731495"/>
                <a:gd name="connsiteY24" fmla="*/ 639460 h 1002989"/>
                <a:gd name="connsiteX25" fmla="*/ 1864444 w 4731495"/>
                <a:gd name="connsiteY25" fmla="*/ 639460 h 1002989"/>
                <a:gd name="connsiteX26" fmla="*/ 1864444 w 4731495"/>
                <a:gd name="connsiteY26" fmla="*/ 611153 h 1002989"/>
                <a:gd name="connsiteX27" fmla="*/ 1805662 w 4731495"/>
                <a:gd name="connsiteY27" fmla="*/ 611153 h 1002989"/>
                <a:gd name="connsiteX28" fmla="*/ 1805662 w 4731495"/>
                <a:gd name="connsiteY28" fmla="*/ 585014 h 1002989"/>
                <a:gd name="connsiteX29" fmla="*/ 1683891 w 4731495"/>
                <a:gd name="connsiteY29" fmla="*/ 585014 h 1002989"/>
                <a:gd name="connsiteX30" fmla="*/ 1683891 w 4731495"/>
                <a:gd name="connsiteY30" fmla="*/ 556324 h 1002989"/>
                <a:gd name="connsiteX31" fmla="*/ 1628169 w 4731495"/>
                <a:gd name="connsiteY31" fmla="*/ 556324 h 1002989"/>
                <a:gd name="connsiteX32" fmla="*/ 1628169 w 4731495"/>
                <a:gd name="connsiteY32" fmla="*/ 530057 h 1002989"/>
                <a:gd name="connsiteX33" fmla="*/ 1609425 w 4731495"/>
                <a:gd name="connsiteY33" fmla="*/ 530057 h 1002989"/>
                <a:gd name="connsiteX34" fmla="*/ 1609425 w 4731495"/>
                <a:gd name="connsiteY34" fmla="*/ 502770 h 1002989"/>
                <a:gd name="connsiteX35" fmla="*/ 1389471 w 4731495"/>
                <a:gd name="connsiteY35" fmla="*/ 502770 h 1002989"/>
                <a:gd name="connsiteX36" fmla="*/ 1389471 w 4731495"/>
                <a:gd name="connsiteY36" fmla="*/ 477013 h 1002989"/>
                <a:gd name="connsiteX37" fmla="*/ 1272035 w 4731495"/>
                <a:gd name="connsiteY37" fmla="*/ 477013 h 1002989"/>
                <a:gd name="connsiteX38" fmla="*/ 1272035 w 4731495"/>
                <a:gd name="connsiteY38" fmla="*/ 422822 h 1002989"/>
                <a:gd name="connsiteX39" fmla="*/ 1237225 w 4731495"/>
                <a:gd name="connsiteY39" fmla="*/ 422822 h 1002989"/>
                <a:gd name="connsiteX40" fmla="*/ 1237225 w 4731495"/>
                <a:gd name="connsiteY40" fmla="*/ 398340 h 1002989"/>
                <a:gd name="connsiteX41" fmla="*/ 1091737 w 4731495"/>
                <a:gd name="connsiteY41" fmla="*/ 398340 h 1002989"/>
                <a:gd name="connsiteX42" fmla="*/ 1091737 w 4731495"/>
                <a:gd name="connsiteY42" fmla="*/ 364550 h 1002989"/>
                <a:gd name="connsiteX43" fmla="*/ 1076563 w 4731495"/>
                <a:gd name="connsiteY43" fmla="*/ 364550 h 1002989"/>
                <a:gd name="connsiteX44" fmla="*/ 1076563 w 4731495"/>
                <a:gd name="connsiteY44" fmla="*/ 345551 h 1002989"/>
                <a:gd name="connsiteX45" fmla="*/ 1061262 w 4731495"/>
                <a:gd name="connsiteY45" fmla="*/ 345551 h 1002989"/>
                <a:gd name="connsiteX46" fmla="*/ 1061262 w 4731495"/>
                <a:gd name="connsiteY46" fmla="*/ 315714 h 1002989"/>
                <a:gd name="connsiteX47" fmla="*/ 1053484 w 4731495"/>
                <a:gd name="connsiteY47" fmla="*/ 315714 h 1002989"/>
                <a:gd name="connsiteX48" fmla="*/ 1053484 w 4731495"/>
                <a:gd name="connsiteY48" fmla="*/ 260374 h 1002989"/>
                <a:gd name="connsiteX49" fmla="*/ 1031425 w 4731495"/>
                <a:gd name="connsiteY49" fmla="*/ 260374 h 1002989"/>
                <a:gd name="connsiteX50" fmla="*/ 1031425 w 4731495"/>
                <a:gd name="connsiteY50" fmla="*/ 234873 h 1002989"/>
                <a:gd name="connsiteX51" fmla="*/ 958234 w 4731495"/>
                <a:gd name="connsiteY51" fmla="*/ 234873 h 1002989"/>
                <a:gd name="connsiteX52" fmla="*/ 958234 w 4731495"/>
                <a:gd name="connsiteY52" fmla="*/ 183614 h 1002989"/>
                <a:gd name="connsiteX53" fmla="*/ 931330 w 4731495"/>
                <a:gd name="connsiteY53" fmla="*/ 183614 h 1002989"/>
                <a:gd name="connsiteX54" fmla="*/ 931330 w 4731495"/>
                <a:gd name="connsiteY54" fmla="*/ 154924 h 1002989"/>
                <a:gd name="connsiteX55" fmla="*/ 916666 w 4731495"/>
                <a:gd name="connsiteY55" fmla="*/ 154924 h 1002989"/>
                <a:gd name="connsiteX56" fmla="*/ 916666 w 4731495"/>
                <a:gd name="connsiteY56" fmla="*/ 130442 h 1002989"/>
                <a:gd name="connsiteX57" fmla="*/ 637038 w 4731495"/>
                <a:gd name="connsiteY57" fmla="*/ 130442 h 1002989"/>
                <a:gd name="connsiteX58" fmla="*/ 637038 w 4731495"/>
                <a:gd name="connsiteY58" fmla="*/ 102263 h 1002989"/>
                <a:gd name="connsiteX59" fmla="*/ 559894 w 4731495"/>
                <a:gd name="connsiteY59" fmla="*/ 102263 h 1002989"/>
                <a:gd name="connsiteX60" fmla="*/ 559894 w 4731495"/>
                <a:gd name="connsiteY60" fmla="*/ 77526 h 1002989"/>
                <a:gd name="connsiteX61" fmla="*/ 535795 w 4731495"/>
                <a:gd name="connsiteY61" fmla="*/ 77526 h 1002989"/>
                <a:gd name="connsiteX62" fmla="*/ 535795 w 4731495"/>
                <a:gd name="connsiteY62" fmla="*/ 48326 h 1002989"/>
                <a:gd name="connsiteX63" fmla="*/ 515776 w 4731495"/>
                <a:gd name="connsiteY63" fmla="*/ 48326 h 1002989"/>
                <a:gd name="connsiteX64" fmla="*/ 515776 w 4731495"/>
                <a:gd name="connsiteY64" fmla="*/ 27160 h 1002989"/>
                <a:gd name="connsiteX65" fmla="*/ 441565 w 4731495"/>
                <a:gd name="connsiteY65" fmla="*/ 27160 h 1002989"/>
                <a:gd name="connsiteX66" fmla="*/ 441565 w 4731495"/>
                <a:gd name="connsiteY66" fmla="*/ 0 h 1002989"/>
                <a:gd name="connsiteX67" fmla="*/ 0 w 4731495"/>
                <a:gd name="connsiteY67" fmla="*/ 0 h 100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4731495" h="1002989">
                  <a:moveTo>
                    <a:pt x="4731496" y="1002990"/>
                  </a:moveTo>
                  <a:lnTo>
                    <a:pt x="3614895" y="1002990"/>
                  </a:lnTo>
                  <a:lnTo>
                    <a:pt x="3614895" y="963079"/>
                  </a:lnTo>
                  <a:lnTo>
                    <a:pt x="3481647" y="963079"/>
                  </a:lnTo>
                  <a:lnTo>
                    <a:pt x="3481647" y="927504"/>
                  </a:lnTo>
                  <a:lnTo>
                    <a:pt x="2952101" y="927504"/>
                  </a:lnTo>
                  <a:lnTo>
                    <a:pt x="2952101" y="898815"/>
                  </a:lnTo>
                  <a:lnTo>
                    <a:pt x="2745025" y="898815"/>
                  </a:lnTo>
                  <a:lnTo>
                    <a:pt x="2745025" y="865025"/>
                  </a:lnTo>
                  <a:lnTo>
                    <a:pt x="2704732" y="865025"/>
                  </a:lnTo>
                  <a:lnTo>
                    <a:pt x="2704732" y="834167"/>
                  </a:lnTo>
                  <a:lnTo>
                    <a:pt x="2558224" y="834167"/>
                  </a:lnTo>
                  <a:lnTo>
                    <a:pt x="2558224" y="808028"/>
                  </a:lnTo>
                  <a:lnTo>
                    <a:pt x="2514998" y="808028"/>
                  </a:lnTo>
                  <a:lnTo>
                    <a:pt x="2514998" y="776533"/>
                  </a:lnTo>
                  <a:lnTo>
                    <a:pt x="2318251" y="776533"/>
                  </a:lnTo>
                  <a:lnTo>
                    <a:pt x="2318251" y="747843"/>
                  </a:lnTo>
                  <a:lnTo>
                    <a:pt x="2304225" y="747843"/>
                  </a:lnTo>
                  <a:lnTo>
                    <a:pt x="2304225" y="722596"/>
                  </a:lnTo>
                  <a:lnTo>
                    <a:pt x="2261764" y="722596"/>
                  </a:lnTo>
                  <a:lnTo>
                    <a:pt x="2261764" y="693142"/>
                  </a:lnTo>
                  <a:lnTo>
                    <a:pt x="2239577" y="693142"/>
                  </a:lnTo>
                  <a:lnTo>
                    <a:pt x="2239577" y="665472"/>
                  </a:lnTo>
                  <a:lnTo>
                    <a:pt x="1893644" y="665472"/>
                  </a:lnTo>
                  <a:lnTo>
                    <a:pt x="1893644" y="639460"/>
                  </a:lnTo>
                  <a:lnTo>
                    <a:pt x="1864444" y="639460"/>
                  </a:lnTo>
                  <a:lnTo>
                    <a:pt x="1864444" y="611153"/>
                  </a:lnTo>
                  <a:lnTo>
                    <a:pt x="1805662" y="611153"/>
                  </a:lnTo>
                  <a:lnTo>
                    <a:pt x="1805662" y="585014"/>
                  </a:lnTo>
                  <a:lnTo>
                    <a:pt x="1683891" y="585014"/>
                  </a:lnTo>
                  <a:lnTo>
                    <a:pt x="1683891" y="556324"/>
                  </a:lnTo>
                  <a:lnTo>
                    <a:pt x="1628169" y="556324"/>
                  </a:lnTo>
                  <a:lnTo>
                    <a:pt x="1628169" y="530057"/>
                  </a:lnTo>
                  <a:lnTo>
                    <a:pt x="1609425" y="530057"/>
                  </a:lnTo>
                  <a:lnTo>
                    <a:pt x="1609425" y="502770"/>
                  </a:lnTo>
                  <a:lnTo>
                    <a:pt x="1389471" y="502770"/>
                  </a:lnTo>
                  <a:lnTo>
                    <a:pt x="1389471" y="477013"/>
                  </a:lnTo>
                  <a:lnTo>
                    <a:pt x="1272035" y="477013"/>
                  </a:lnTo>
                  <a:lnTo>
                    <a:pt x="1272035" y="422822"/>
                  </a:lnTo>
                  <a:lnTo>
                    <a:pt x="1237225" y="422822"/>
                  </a:lnTo>
                  <a:lnTo>
                    <a:pt x="1237225" y="398340"/>
                  </a:lnTo>
                  <a:lnTo>
                    <a:pt x="1091737" y="398340"/>
                  </a:lnTo>
                  <a:lnTo>
                    <a:pt x="1091737" y="364550"/>
                  </a:lnTo>
                  <a:lnTo>
                    <a:pt x="1076563" y="364550"/>
                  </a:lnTo>
                  <a:lnTo>
                    <a:pt x="1076563" y="345551"/>
                  </a:lnTo>
                  <a:lnTo>
                    <a:pt x="1061262" y="345551"/>
                  </a:lnTo>
                  <a:lnTo>
                    <a:pt x="1061262" y="315714"/>
                  </a:lnTo>
                  <a:lnTo>
                    <a:pt x="1053484" y="315714"/>
                  </a:lnTo>
                  <a:lnTo>
                    <a:pt x="1053484" y="260374"/>
                  </a:lnTo>
                  <a:lnTo>
                    <a:pt x="1031425" y="260374"/>
                  </a:lnTo>
                  <a:lnTo>
                    <a:pt x="1031425" y="234873"/>
                  </a:lnTo>
                  <a:lnTo>
                    <a:pt x="958234" y="234873"/>
                  </a:lnTo>
                  <a:lnTo>
                    <a:pt x="958234" y="183614"/>
                  </a:lnTo>
                  <a:lnTo>
                    <a:pt x="931330" y="183614"/>
                  </a:lnTo>
                  <a:lnTo>
                    <a:pt x="931330" y="154924"/>
                  </a:lnTo>
                  <a:lnTo>
                    <a:pt x="916666" y="154924"/>
                  </a:lnTo>
                  <a:lnTo>
                    <a:pt x="916666" y="130442"/>
                  </a:lnTo>
                  <a:lnTo>
                    <a:pt x="637038" y="130442"/>
                  </a:lnTo>
                  <a:lnTo>
                    <a:pt x="637038" y="102263"/>
                  </a:lnTo>
                  <a:lnTo>
                    <a:pt x="559894" y="102263"/>
                  </a:lnTo>
                  <a:lnTo>
                    <a:pt x="559894" y="77526"/>
                  </a:lnTo>
                  <a:lnTo>
                    <a:pt x="535795" y="77526"/>
                  </a:lnTo>
                  <a:lnTo>
                    <a:pt x="535795" y="48326"/>
                  </a:lnTo>
                  <a:lnTo>
                    <a:pt x="515776" y="48326"/>
                  </a:lnTo>
                  <a:lnTo>
                    <a:pt x="515776" y="27160"/>
                  </a:lnTo>
                  <a:lnTo>
                    <a:pt x="441565" y="27160"/>
                  </a:lnTo>
                  <a:lnTo>
                    <a:pt x="441565" y="0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01" name="Grafik 89">
              <a:extLst>
                <a:ext uri="{FF2B5EF4-FFF2-40B4-BE49-F238E27FC236}">
                  <a16:creationId xmlns:a16="http://schemas.microsoft.com/office/drawing/2014/main" id="{8CE843BF-38AD-D06C-26D7-A0809B4D9E67}"/>
                </a:ext>
              </a:extLst>
            </p:cNvPr>
            <p:cNvGrpSpPr/>
            <p:nvPr/>
          </p:nvGrpSpPr>
          <p:grpSpPr>
            <a:xfrm>
              <a:off x="6833091" y="2153652"/>
              <a:ext cx="47561" cy="44245"/>
              <a:chOff x="6833091" y="2153652"/>
              <a:chExt cx="47561" cy="44245"/>
            </a:xfrm>
          </p:grpSpPr>
          <p:sp>
            <p:nvSpPr>
              <p:cNvPr id="531" name="Freihandform: Form 530">
                <a:extLst>
                  <a:ext uri="{FF2B5EF4-FFF2-40B4-BE49-F238E27FC236}">
                    <a16:creationId xmlns:a16="http://schemas.microsoft.com/office/drawing/2014/main" id="{83DB720B-0C53-D453-5AB0-EBFEFD7A8811}"/>
                  </a:ext>
                </a:extLst>
              </p:cNvPr>
              <p:cNvSpPr/>
              <p:nvPr/>
            </p:nvSpPr>
            <p:spPr>
              <a:xfrm>
                <a:off x="6856808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2" name="Freihandform: Form 531">
                <a:extLst>
                  <a:ext uri="{FF2B5EF4-FFF2-40B4-BE49-F238E27FC236}">
                    <a16:creationId xmlns:a16="http://schemas.microsoft.com/office/drawing/2014/main" id="{0D85475F-58E9-6DA5-E7EE-83721800D614}"/>
                  </a:ext>
                </a:extLst>
              </p:cNvPr>
              <p:cNvSpPr/>
              <p:nvPr/>
            </p:nvSpPr>
            <p:spPr>
              <a:xfrm>
                <a:off x="6833091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02" name="Grafik 89">
              <a:extLst>
                <a:ext uri="{FF2B5EF4-FFF2-40B4-BE49-F238E27FC236}">
                  <a16:creationId xmlns:a16="http://schemas.microsoft.com/office/drawing/2014/main" id="{66B70400-1846-49B5-C287-03870C16C5FA}"/>
                </a:ext>
              </a:extLst>
            </p:cNvPr>
            <p:cNvGrpSpPr/>
            <p:nvPr/>
          </p:nvGrpSpPr>
          <p:grpSpPr>
            <a:xfrm>
              <a:off x="6711447" y="2153652"/>
              <a:ext cx="47433" cy="44245"/>
              <a:chOff x="6711447" y="2153652"/>
              <a:chExt cx="47433" cy="44245"/>
            </a:xfrm>
          </p:grpSpPr>
          <p:sp>
            <p:nvSpPr>
              <p:cNvPr id="529" name="Freihandform: Form 528">
                <a:extLst>
                  <a:ext uri="{FF2B5EF4-FFF2-40B4-BE49-F238E27FC236}">
                    <a16:creationId xmlns:a16="http://schemas.microsoft.com/office/drawing/2014/main" id="{C3A4C1FC-8A6D-DCE8-7A76-AABDFC8E6D5B}"/>
                  </a:ext>
                </a:extLst>
              </p:cNvPr>
              <p:cNvSpPr/>
              <p:nvPr/>
            </p:nvSpPr>
            <p:spPr>
              <a:xfrm>
                <a:off x="6735164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0" name="Freihandform: Form 529">
                <a:extLst>
                  <a:ext uri="{FF2B5EF4-FFF2-40B4-BE49-F238E27FC236}">
                    <a16:creationId xmlns:a16="http://schemas.microsoft.com/office/drawing/2014/main" id="{ADEB94BF-F178-572B-A9DE-A46915A6FE4D}"/>
                  </a:ext>
                </a:extLst>
              </p:cNvPr>
              <p:cNvSpPr/>
              <p:nvPr/>
            </p:nvSpPr>
            <p:spPr>
              <a:xfrm>
                <a:off x="6711447" y="2175839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03" name="Grafik 89">
              <a:extLst>
                <a:ext uri="{FF2B5EF4-FFF2-40B4-BE49-F238E27FC236}">
                  <a16:creationId xmlns:a16="http://schemas.microsoft.com/office/drawing/2014/main" id="{336B4139-6C53-5F1F-70AA-4D14EF46AD34}"/>
                </a:ext>
              </a:extLst>
            </p:cNvPr>
            <p:cNvGrpSpPr/>
            <p:nvPr/>
          </p:nvGrpSpPr>
          <p:grpSpPr>
            <a:xfrm>
              <a:off x="6681227" y="2153652"/>
              <a:ext cx="47561" cy="44245"/>
              <a:chOff x="6681227" y="2153652"/>
              <a:chExt cx="47561" cy="44245"/>
            </a:xfrm>
          </p:grpSpPr>
          <p:sp>
            <p:nvSpPr>
              <p:cNvPr id="527" name="Freihandform: Form 526">
                <a:extLst>
                  <a:ext uri="{FF2B5EF4-FFF2-40B4-BE49-F238E27FC236}">
                    <a16:creationId xmlns:a16="http://schemas.microsoft.com/office/drawing/2014/main" id="{F777EEF1-C8ED-7EDF-E40F-4648DC7CF7E2}"/>
                  </a:ext>
                </a:extLst>
              </p:cNvPr>
              <p:cNvSpPr/>
              <p:nvPr/>
            </p:nvSpPr>
            <p:spPr>
              <a:xfrm>
                <a:off x="6705072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8" name="Freihandform: Form 527">
                <a:extLst>
                  <a:ext uri="{FF2B5EF4-FFF2-40B4-BE49-F238E27FC236}">
                    <a16:creationId xmlns:a16="http://schemas.microsoft.com/office/drawing/2014/main" id="{FAFA8F0B-327B-4550-4B0E-CD80EDBFFEEF}"/>
                  </a:ext>
                </a:extLst>
              </p:cNvPr>
              <p:cNvSpPr/>
              <p:nvPr/>
            </p:nvSpPr>
            <p:spPr>
              <a:xfrm>
                <a:off x="6681227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04" name="Grafik 89">
              <a:extLst>
                <a:ext uri="{FF2B5EF4-FFF2-40B4-BE49-F238E27FC236}">
                  <a16:creationId xmlns:a16="http://schemas.microsoft.com/office/drawing/2014/main" id="{5027550C-44C9-7167-46DF-881686BB4232}"/>
                </a:ext>
              </a:extLst>
            </p:cNvPr>
            <p:cNvGrpSpPr/>
            <p:nvPr/>
          </p:nvGrpSpPr>
          <p:grpSpPr>
            <a:xfrm>
              <a:off x="6657638" y="2153652"/>
              <a:ext cx="47561" cy="44245"/>
              <a:chOff x="6657638" y="2153652"/>
              <a:chExt cx="47561" cy="44245"/>
            </a:xfrm>
          </p:grpSpPr>
          <p:sp>
            <p:nvSpPr>
              <p:cNvPr id="525" name="Freihandform: Form 524">
                <a:extLst>
                  <a:ext uri="{FF2B5EF4-FFF2-40B4-BE49-F238E27FC236}">
                    <a16:creationId xmlns:a16="http://schemas.microsoft.com/office/drawing/2014/main" id="{2F30C403-2FB9-55BD-EB7B-65DCC8116581}"/>
                  </a:ext>
                </a:extLst>
              </p:cNvPr>
              <p:cNvSpPr/>
              <p:nvPr/>
            </p:nvSpPr>
            <p:spPr>
              <a:xfrm>
                <a:off x="6681482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6" name="Freihandform: Form 525">
                <a:extLst>
                  <a:ext uri="{FF2B5EF4-FFF2-40B4-BE49-F238E27FC236}">
                    <a16:creationId xmlns:a16="http://schemas.microsoft.com/office/drawing/2014/main" id="{2276720A-8A8E-48FE-E47C-9FD6F1ACDDFC}"/>
                  </a:ext>
                </a:extLst>
              </p:cNvPr>
              <p:cNvSpPr/>
              <p:nvPr/>
            </p:nvSpPr>
            <p:spPr>
              <a:xfrm>
                <a:off x="6657638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05" name="Grafik 89">
              <a:extLst>
                <a:ext uri="{FF2B5EF4-FFF2-40B4-BE49-F238E27FC236}">
                  <a16:creationId xmlns:a16="http://schemas.microsoft.com/office/drawing/2014/main" id="{A7BB63DB-234B-475C-BFED-91D612BB4FB9}"/>
                </a:ext>
              </a:extLst>
            </p:cNvPr>
            <p:cNvGrpSpPr/>
            <p:nvPr/>
          </p:nvGrpSpPr>
          <p:grpSpPr>
            <a:xfrm>
              <a:off x="6594138" y="2153652"/>
              <a:ext cx="47561" cy="44245"/>
              <a:chOff x="6594138" y="2153652"/>
              <a:chExt cx="47561" cy="44245"/>
            </a:xfrm>
          </p:grpSpPr>
          <p:sp>
            <p:nvSpPr>
              <p:cNvPr id="523" name="Freihandform: Form 522">
                <a:extLst>
                  <a:ext uri="{FF2B5EF4-FFF2-40B4-BE49-F238E27FC236}">
                    <a16:creationId xmlns:a16="http://schemas.microsoft.com/office/drawing/2014/main" id="{485220FB-0E26-CD4E-7153-4FC8DF6E6D41}"/>
                  </a:ext>
                </a:extLst>
              </p:cNvPr>
              <p:cNvSpPr/>
              <p:nvPr/>
            </p:nvSpPr>
            <p:spPr>
              <a:xfrm>
                <a:off x="6617983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4" name="Freihandform: Form 523">
                <a:extLst>
                  <a:ext uri="{FF2B5EF4-FFF2-40B4-BE49-F238E27FC236}">
                    <a16:creationId xmlns:a16="http://schemas.microsoft.com/office/drawing/2014/main" id="{F67567CB-0F89-F391-24A1-C929646F473B}"/>
                  </a:ext>
                </a:extLst>
              </p:cNvPr>
              <p:cNvSpPr/>
              <p:nvPr/>
            </p:nvSpPr>
            <p:spPr>
              <a:xfrm>
                <a:off x="6594138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06" name="Grafik 89">
              <a:extLst>
                <a:ext uri="{FF2B5EF4-FFF2-40B4-BE49-F238E27FC236}">
                  <a16:creationId xmlns:a16="http://schemas.microsoft.com/office/drawing/2014/main" id="{EB0E1CC7-F5D0-8713-7224-13F345200C84}"/>
                </a:ext>
              </a:extLst>
            </p:cNvPr>
            <p:cNvGrpSpPr/>
            <p:nvPr/>
          </p:nvGrpSpPr>
          <p:grpSpPr>
            <a:xfrm>
              <a:off x="6565704" y="2153652"/>
              <a:ext cx="47561" cy="44245"/>
              <a:chOff x="6565704" y="2153652"/>
              <a:chExt cx="47561" cy="44245"/>
            </a:xfrm>
          </p:grpSpPr>
          <p:sp>
            <p:nvSpPr>
              <p:cNvPr id="521" name="Freihandform: Form 520">
                <a:extLst>
                  <a:ext uri="{FF2B5EF4-FFF2-40B4-BE49-F238E27FC236}">
                    <a16:creationId xmlns:a16="http://schemas.microsoft.com/office/drawing/2014/main" id="{EAD59C08-D47E-F6F8-496B-E54340818813}"/>
                  </a:ext>
                </a:extLst>
              </p:cNvPr>
              <p:cNvSpPr/>
              <p:nvPr/>
            </p:nvSpPr>
            <p:spPr>
              <a:xfrm>
                <a:off x="6589420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2" name="Freihandform: Form 521">
                <a:extLst>
                  <a:ext uri="{FF2B5EF4-FFF2-40B4-BE49-F238E27FC236}">
                    <a16:creationId xmlns:a16="http://schemas.microsoft.com/office/drawing/2014/main" id="{AFAB2B07-ED31-725F-37C8-609B90823BCA}"/>
                  </a:ext>
                </a:extLst>
              </p:cNvPr>
              <p:cNvSpPr/>
              <p:nvPr/>
            </p:nvSpPr>
            <p:spPr>
              <a:xfrm>
                <a:off x="6565704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07" name="Grafik 89">
              <a:extLst>
                <a:ext uri="{FF2B5EF4-FFF2-40B4-BE49-F238E27FC236}">
                  <a16:creationId xmlns:a16="http://schemas.microsoft.com/office/drawing/2014/main" id="{FD14FAEC-E2EB-D6DF-6085-78519CFEC753}"/>
                </a:ext>
              </a:extLst>
            </p:cNvPr>
            <p:cNvGrpSpPr/>
            <p:nvPr/>
          </p:nvGrpSpPr>
          <p:grpSpPr>
            <a:xfrm>
              <a:off x="6518525" y="2153652"/>
              <a:ext cx="47561" cy="44245"/>
              <a:chOff x="6518525" y="2153652"/>
              <a:chExt cx="47561" cy="44245"/>
            </a:xfrm>
          </p:grpSpPr>
          <p:sp>
            <p:nvSpPr>
              <p:cNvPr id="519" name="Freihandform: Form 518">
                <a:extLst>
                  <a:ext uri="{FF2B5EF4-FFF2-40B4-BE49-F238E27FC236}">
                    <a16:creationId xmlns:a16="http://schemas.microsoft.com/office/drawing/2014/main" id="{8E47AF23-7FFD-054E-3B18-AF21A6AF6339}"/>
                  </a:ext>
                </a:extLst>
              </p:cNvPr>
              <p:cNvSpPr/>
              <p:nvPr/>
            </p:nvSpPr>
            <p:spPr>
              <a:xfrm>
                <a:off x="6542242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0" name="Freihandform: Form 519">
                <a:extLst>
                  <a:ext uri="{FF2B5EF4-FFF2-40B4-BE49-F238E27FC236}">
                    <a16:creationId xmlns:a16="http://schemas.microsoft.com/office/drawing/2014/main" id="{631EDD28-629E-3386-B238-E2C3EE5B00FF}"/>
                  </a:ext>
                </a:extLst>
              </p:cNvPr>
              <p:cNvSpPr/>
              <p:nvPr/>
            </p:nvSpPr>
            <p:spPr>
              <a:xfrm>
                <a:off x="6518525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08" name="Grafik 89">
              <a:extLst>
                <a:ext uri="{FF2B5EF4-FFF2-40B4-BE49-F238E27FC236}">
                  <a16:creationId xmlns:a16="http://schemas.microsoft.com/office/drawing/2014/main" id="{73F71D7D-BC53-A600-79B5-FF3DFAA33284}"/>
                </a:ext>
              </a:extLst>
            </p:cNvPr>
            <p:cNvGrpSpPr/>
            <p:nvPr/>
          </p:nvGrpSpPr>
          <p:grpSpPr>
            <a:xfrm>
              <a:off x="6495318" y="2153652"/>
              <a:ext cx="47561" cy="44245"/>
              <a:chOff x="6495318" y="2153652"/>
              <a:chExt cx="47561" cy="44245"/>
            </a:xfrm>
          </p:grpSpPr>
          <p:sp>
            <p:nvSpPr>
              <p:cNvPr id="517" name="Freihandform: Form 516">
                <a:extLst>
                  <a:ext uri="{FF2B5EF4-FFF2-40B4-BE49-F238E27FC236}">
                    <a16:creationId xmlns:a16="http://schemas.microsoft.com/office/drawing/2014/main" id="{CB5A3AB8-B449-15EC-FB6B-5915B9C2590E}"/>
                  </a:ext>
                </a:extLst>
              </p:cNvPr>
              <p:cNvSpPr/>
              <p:nvPr/>
            </p:nvSpPr>
            <p:spPr>
              <a:xfrm>
                <a:off x="6519035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8" name="Freihandform: Form 517">
                <a:extLst>
                  <a:ext uri="{FF2B5EF4-FFF2-40B4-BE49-F238E27FC236}">
                    <a16:creationId xmlns:a16="http://schemas.microsoft.com/office/drawing/2014/main" id="{CCF9EB70-F286-68E0-A0FF-E2B4D5789B23}"/>
                  </a:ext>
                </a:extLst>
              </p:cNvPr>
              <p:cNvSpPr/>
              <p:nvPr/>
            </p:nvSpPr>
            <p:spPr>
              <a:xfrm>
                <a:off x="6495318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09" name="Grafik 89">
              <a:extLst>
                <a:ext uri="{FF2B5EF4-FFF2-40B4-BE49-F238E27FC236}">
                  <a16:creationId xmlns:a16="http://schemas.microsoft.com/office/drawing/2014/main" id="{9BF4357E-0AF5-6086-C25E-F739FE4E2139}"/>
                </a:ext>
              </a:extLst>
            </p:cNvPr>
            <p:cNvGrpSpPr/>
            <p:nvPr/>
          </p:nvGrpSpPr>
          <p:grpSpPr>
            <a:xfrm>
              <a:off x="6427356" y="2153652"/>
              <a:ext cx="47561" cy="44245"/>
              <a:chOff x="6427356" y="2153652"/>
              <a:chExt cx="47561" cy="44245"/>
            </a:xfrm>
          </p:grpSpPr>
          <p:sp>
            <p:nvSpPr>
              <p:cNvPr id="515" name="Freihandform: Form 514">
                <a:extLst>
                  <a:ext uri="{FF2B5EF4-FFF2-40B4-BE49-F238E27FC236}">
                    <a16:creationId xmlns:a16="http://schemas.microsoft.com/office/drawing/2014/main" id="{CAA19DA0-AA2E-4E01-61E5-956B772CEF1A}"/>
                  </a:ext>
                </a:extLst>
              </p:cNvPr>
              <p:cNvSpPr/>
              <p:nvPr/>
            </p:nvSpPr>
            <p:spPr>
              <a:xfrm>
                <a:off x="6451073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6" name="Freihandform: Form 515">
                <a:extLst>
                  <a:ext uri="{FF2B5EF4-FFF2-40B4-BE49-F238E27FC236}">
                    <a16:creationId xmlns:a16="http://schemas.microsoft.com/office/drawing/2014/main" id="{86CCB3D8-DC63-05CE-43B3-9F475A609AF0}"/>
                  </a:ext>
                </a:extLst>
              </p:cNvPr>
              <p:cNvSpPr/>
              <p:nvPr/>
            </p:nvSpPr>
            <p:spPr>
              <a:xfrm>
                <a:off x="6427356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0" name="Grafik 89">
              <a:extLst>
                <a:ext uri="{FF2B5EF4-FFF2-40B4-BE49-F238E27FC236}">
                  <a16:creationId xmlns:a16="http://schemas.microsoft.com/office/drawing/2014/main" id="{C9486B13-45FB-A2CE-49F6-849A72DF7087}"/>
                </a:ext>
              </a:extLst>
            </p:cNvPr>
            <p:cNvGrpSpPr/>
            <p:nvPr/>
          </p:nvGrpSpPr>
          <p:grpSpPr>
            <a:xfrm>
              <a:off x="6354930" y="2153652"/>
              <a:ext cx="47561" cy="44245"/>
              <a:chOff x="6354930" y="2153652"/>
              <a:chExt cx="47561" cy="44245"/>
            </a:xfrm>
          </p:grpSpPr>
          <p:sp>
            <p:nvSpPr>
              <p:cNvPr id="513" name="Freihandform: Form 512">
                <a:extLst>
                  <a:ext uri="{FF2B5EF4-FFF2-40B4-BE49-F238E27FC236}">
                    <a16:creationId xmlns:a16="http://schemas.microsoft.com/office/drawing/2014/main" id="{8B722813-C1A3-15B6-2F27-B96FB7248147}"/>
                  </a:ext>
                </a:extLst>
              </p:cNvPr>
              <p:cNvSpPr/>
              <p:nvPr/>
            </p:nvSpPr>
            <p:spPr>
              <a:xfrm>
                <a:off x="6378647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4" name="Freihandform: Form 513">
                <a:extLst>
                  <a:ext uri="{FF2B5EF4-FFF2-40B4-BE49-F238E27FC236}">
                    <a16:creationId xmlns:a16="http://schemas.microsoft.com/office/drawing/2014/main" id="{BF517EF9-8566-A5C1-5CBA-E78F1FBF7931}"/>
                  </a:ext>
                </a:extLst>
              </p:cNvPr>
              <p:cNvSpPr/>
              <p:nvPr/>
            </p:nvSpPr>
            <p:spPr>
              <a:xfrm>
                <a:off x="6354930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1" name="Grafik 89">
              <a:extLst>
                <a:ext uri="{FF2B5EF4-FFF2-40B4-BE49-F238E27FC236}">
                  <a16:creationId xmlns:a16="http://schemas.microsoft.com/office/drawing/2014/main" id="{DD23687A-88A8-6274-F709-3B134B37AA3E}"/>
                </a:ext>
              </a:extLst>
            </p:cNvPr>
            <p:cNvGrpSpPr/>
            <p:nvPr/>
          </p:nvGrpSpPr>
          <p:grpSpPr>
            <a:xfrm>
              <a:off x="6275492" y="2153652"/>
              <a:ext cx="47561" cy="44245"/>
              <a:chOff x="6275492" y="2153652"/>
              <a:chExt cx="47561" cy="44245"/>
            </a:xfrm>
          </p:grpSpPr>
          <p:sp>
            <p:nvSpPr>
              <p:cNvPr id="511" name="Freihandform: Form 510">
                <a:extLst>
                  <a:ext uri="{FF2B5EF4-FFF2-40B4-BE49-F238E27FC236}">
                    <a16:creationId xmlns:a16="http://schemas.microsoft.com/office/drawing/2014/main" id="{34CD09BA-C868-03FD-21B0-DDF60DEF919D}"/>
                  </a:ext>
                </a:extLst>
              </p:cNvPr>
              <p:cNvSpPr/>
              <p:nvPr/>
            </p:nvSpPr>
            <p:spPr>
              <a:xfrm>
                <a:off x="6299336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2" name="Freihandform: Form 511">
                <a:extLst>
                  <a:ext uri="{FF2B5EF4-FFF2-40B4-BE49-F238E27FC236}">
                    <a16:creationId xmlns:a16="http://schemas.microsoft.com/office/drawing/2014/main" id="{C073D494-6635-CC95-E4DF-AA74FF99A661}"/>
                  </a:ext>
                </a:extLst>
              </p:cNvPr>
              <p:cNvSpPr/>
              <p:nvPr/>
            </p:nvSpPr>
            <p:spPr>
              <a:xfrm>
                <a:off x="6275492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2" name="Grafik 89">
              <a:extLst>
                <a:ext uri="{FF2B5EF4-FFF2-40B4-BE49-F238E27FC236}">
                  <a16:creationId xmlns:a16="http://schemas.microsoft.com/office/drawing/2014/main" id="{95CC56E6-5D65-BF1F-8A54-9AB7732504F5}"/>
                </a:ext>
              </a:extLst>
            </p:cNvPr>
            <p:cNvGrpSpPr/>
            <p:nvPr/>
          </p:nvGrpSpPr>
          <p:grpSpPr>
            <a:xfrm>
              <a:off x="6265801" y="2153652"/>
              <a:ext cx="47561" cy="44245"/>
              <a:chOff x="6265801" y="2153652"/>
              <a:chExt cx="47561" cy="44245"/>
            </a:xfrm>
          </p:grpSpPr>
          <p:sp>
            <p:nvSpPr>
              <p:cNvPr id="509" name="Freihandform: Form 508">
                <a:extLst>
                  <a:ext uri="{FF2B5EF4-FFF2-40B4-BE49-F238E27FC236}">
                    <a16:creationId xmlns:a16="http://schemas.microsoft.com/office/drawing/2014/main" id="{8E8A68D8-0BC6-A687-6FE2-46E472DE2DDC}"/>
                  </a:ext>
                </a:extLst>
              </p:cNvPr>
              <p:cNvSpPr/>
              <p:nvPr/>
            </p:nvSpPr>
            <p:spPr>
              <a:xfrm>
                <a:off x="6289518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0" name="Freihandform: Form 509">
                <a:extLst>
                  <a:ext uri="{FF2B5EF4-FFF2-40B4-BE49-F238E27FC236}">
                    <a16:creationId xmlns:a16="http://schemas.microsoft.com/office/drawing/2014/main" id="{0440895B-925C-7116-6087-23B06A1C32FD}"/>
                  </a:ext>
                </a:extLst>
              </p:cNvPr>
              <p:cNvSpPr/>
              <p:nvPr/>
            </p:nvSpPr>
            <p:spPr>
              <a:xfrm>
                <a:off x="6265801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3" name="Grafik 89">
              <a:extLst>
                <a:ext uri="{FF2B5EF4-FFF2-40B4-BE49-F238E27FC236}">
                  <a16:creationId xmlns:a16="http://schemas.microsoft.com/office/drawing/2014/main" id="{0CA3A74C-0B0C-8E3D-4EE8-AFA2E71916D9}"/>
                </a:ext>
              </a:extLst>
            </p:cNvPr>
            <p:cNvGrpSpPr/>
            <p:nvPr/>
          </p:nvGrpSpPr>
          <p:grpSpPr>
            <a:xfrm>
              <a:off x="6240554" y="2153652"/>
              <a:ext cx="47561" cy="44245"/>
              <a:chOff x="6240554" y="2153652"/>
              <a:chExt cx="47561" cy="44245"/>
            </a:xfrm>
          </p:grpSpPr>
          <p:sp>
            <p:nvSpPr>
              <p:cNvPr id="507" name="Freihandform: Form 506">
                <a:extLst>
                  <a:ext uri="{FF2B5EF4-FFF2-40B4-BE49-F238E27FC236}">
                    <a16:creationId xmlns:a16="http://schemas.microsoft.com/office/drawing/2014/main" id="{3B923D0A-7ED6-2AB7-A3C2-93F6C04266CD}"/>
                  </a:ext>
                </a:extLst>
              </p:cNvPr>
              <p:cNvSpPr/>
              <p:nvPr/>
            </p:nvSpPr>
            <p:spPr>
              <a:xfrm>
                <a:off x="6264271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8" name="Freihandform: Form 507">
                <a:extLst>
                  <a:ext uri="{FF2B5EF4-FFF2-40B4-BE49-F238E27FC236}">
                    <a16:creationId xmlns:a16="http://schemas.microsoft.com/office/drawing/2014/main" id="{70B1FC98-5A09-72CE-D77A-BA644ED3A94F}"/>
                  </a:ext>
                </a:extLst>
              </p:cNvPr>
              <p:cNvSpPr/>
              <p:nvPr/>
            </p:nvSpPr>
            <p:spPr>
              <a:xfrm>
                <a:off x="6240554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4" name="Grafik 89">
              <a:extLst>
                <a:ext uri="{FF2B5EF4-FFF2-40B4-BE49-F238E27FC236}">
                  <a16:creationId xmlns:a16="http://schemas.microsoft.com/office/drawing/2014/main" id="{BF1370C1-084E-3C83-ADFC-552F29D5F575}"/>
                </a:ext>
              </a:extLst>
            </p:cNvPr>
            <p:cNvGrpSpPr/>
            <p:nvPr/>
          </p:nvGrpSpPr>
          <p:grpSpPr>
            <a:xfrm>
              <a:off x="6168894" y="2153652"/>
              <a:ext cx="47561" cy="44245"/>
              <a:chOff x="6168894" y="2153652"/>
              <a:chExt cx="47561" cy="44245"/>
            </a:xfrm>
          </p:grpSpPr>
          <p:sp>
            <p:nvSpPr>
              <p:cNvPr id="505" name="Freihandform: Form 504">
                <a:extLst>
                  <a:ext uri="{FF2B5EF4-FFF2-40B4-BE49-F238E27FC236}">
                    <a16:creationId xmlns:a16="http://schemas.microsoft.com/office/drawing/2014/main" id="{C890A106-2285-DB61-328B-4E354E5AD7C2}"/>
                  </a:ext>
                </a:extLst>
              </p:cNvPr>
              <p:cNvSpPr/>
              <p:nvPr/>
            </p:nvSpPr>
            <p:spPr>
              <a:xfrm>
                <a:off x="6192738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6" name="Freihandform: Form 505">
                <a:extLst>
                  <a:ext uri="{FF2B5EF4-FFF2-40B4-BE49-F238E27FC236}">
                    <a16:creationId xmlns:a16="http://schemas.microsoft.com/office/drawing/2014/main" id="{ADB2957B-A7B1-FC53-3C71-480AAAC67CE5}"/>
                  </a:ext>
                </a:extLst>
              </p:cNvPr>
              <p:cNvSpPr/>
              <p:nvPr/>
            </p:nvSpPr>
            <p:spPr>
              <a:xfrm>
                <a:off x="6168894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5" name="Grafik 89">
              <a:extLst>
                <a:ext uri="{FF2B5EF4-FFF2-40B4-BE49-F238E27FC236}">
                  <a16:creationId xmlns:a16="http://schemas.microsoft.com/office/drawing/2014/main" id="{46FABB2D-8496-81CE-ABEC-CB900DEB11CE}"/>
                </a:ext>
              </a:extLst>
            </p:cNvPr>
            <p:cNvGrpSpPr/>
            <p:nvPr/>
          </p:nvGrpSpPr>
          <p:grpSpPr>
            <a:xfrm>
              <a:off x="6147728" y="2153652"/>
              <a:ext cx="47561" cy="44245"/>
              <a:chOff x="6147728" y="2153652"/>
              <a:chExt cx="47561" cy="44245"/>
            </a:xfrm>
          </p:grpSpPr>
          <p:sp>
            <p:nvSpPr>
              <p:cNvPr id="503" name="Freihandform: Form 502">
                <a:extLst>
                  <a:ext uri="{FF2B5EF4-FFF2-40B4-BE49-F238E27FC236}">
                    <a16:creationId xmlns:a16="http://schemas.microsoft.com/office/drawing/2014/main" id="{3F0C005D-636F-F481-F9A3-AEE674DEC461}"/>
                  </a:ext>
                </a:extLst>
              </p:cNvPr>
              <p:cNvSpPr/>
              <p:nvPr/>
            </p:nvSpPr>
            <p:spPr>
              <a:xfrm>
                <a:off x="6171572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4" name="Freihandform: Form 503">
                <a:extLst>
                  <a:ext uri="{FF2B5EF4-FFF2-40B4-BE49-F238E27FC236}">
                    <a16:creationId xmlns:a16="http://schemas.microsoft.com/office/drawing/2014/main" id="{3A0B9EA2-FFE0-D9C3-BDF3-7DF9910A288C}"/>
                  </a:ext>
                </a:extLst>
              </p:cNvPr>
              <p:cNvSpPr/>
              <p:nvPr/>
            </p:nvSpPr>
            <p:spPr>
              <a:xfrm>
                <a:off x="6147728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6" name="Grafik 89">
              <a:extLst>
                <a:ext uri="{FF2B5EF4-FFF2-40B4-BE49-F238E27FC236}">
                  <a16:creationId xmlns:a16="http://schemas.microsoft.com/office/drawing/2014/main" id="{FCB8578C-6DCB-39F0-E120-29DCD7E0A4F7}"/>
                </a:ext>
              </a:extLst>
            </p:cNvPr>
            <p:cNvGrpSpPr/>
            <p:nvPr/>
          </p:nvGrpSpPr>
          <p:grpSpPr>
            <a:xfrm>
              <a:off x="6034627" y="2153652"/>
              <a:ext cx="47561" cy="44245"/>
              <a:chOff x="6034627" y="2153652"/>
              <a:chExt cx="47561" cy="44245"/>
            </a:xfrm>
          </p:grpSpPr>
          <p:sp>
            <p:nvSpPr>
              <p:cNvPr id="501" name="Freihandform: Form 500">
                <a:extLst>
                  <a:ext uri="{FF2B5EF4-FFF2-40B4-BE49-F238E27FC236}">
                    <a16:creationId xmlns:a16="http://schemas.microsoft.com/office/drawing/2014/main" id="{1D49C827-C61C-5B17-487B-78BC7FCF292B}"/>
                  </a:ext>
                </a:extLst>
              </p:cNvPr>
              <p:cNvSpPr/>
              <p:nvPr/>
            </p:nvSpPr>
            <p:spPr>
              <a:xfrm>
                <a:off x="6058471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2" name="Freihandform: Form 501">
                <a:extLst>
                  <a:ext uri="{FF2B5EF4-FFF2-40B4-BE49-F238E27FC236}">
                    <a16:creationId xmlns:a16="http://schemas.microsoft.com/office/drawing/2014/main" id="{71FCE7F4-4C35-1BEA-F395-EA104B2AA5BD}"/>
                  </a:ext>
                </a:extLst>
              </p:cNvPr>
              <p:cNvSpPr/>
              <p:nvPr/>
            </p:nvSpPr>
            <p:spPr>
              <a:xfrm>
                <a:off x="6034627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89">
              <a:extLst>
                <a:ext uri="{FF2B5EF4-FFF2-40B4-BE49-F238E27FC236}">
                  <a16:creationId xmlns:a16="http://schemas.microsoft.com/office/drawing/2014/main" id="{00D5EA28-9D86-82D0-37EE-9C07FB15627B}"/>
                </a:ext>
              </a:extLst>
            </p:cNvPr>
            <p:cNvGrpSpPr/>
            <p:nvPr/>
          </p:nvGrpSpPr>
          <p:grpSpPr>
            <a:xfrm>
              <a:off x="5957866" y="2153652"/>
              <a:ext cx="47561" cy="44245"/>
              <a:chOff x="5957866" y="2153652"/>
              <a:chExt cx="47561" cy="44245"/>
            </a:xfrm>
          </p:grpSpPr>
          <p:sp>
            <p:nvSpPr>
              <p:cNvPr id="499" name="Freihandform: Form 498">
                <a:extLst>
                  <a:ext uri="{FF2B5EF4-FFF2-40B4-BE49-F238E27FC236}">
                    <a16:creationId xmlns:a16="http://schemas.microsoft.com/office/drawing/2014/main" id="{64F33A1B-DBEE-A773-90A7-4B4F28EC1A67}"/>
                  </a:ext>
                </a:extLst>
              </p:cNvPr>
              <p:cNvSpPr/>
              <p:nvPr/>
            </p:nvSpPr>
            <p:spPr>
              <a:xfrm>
                <a:off x="5981583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0" name="Freihandform: Form 499">
                <a:extLst>
                  <a:ext uri="{FF2B5EF4-FFF2-40B4-BE49-F238E27FC236}">
                    <a16:creationId xmlns:a16="http://schemas.microsoft.com/office/drawing/2014/main" id="{BBC28A5B-8541-5975-53F6-6E12439018DE}"/>
                  </a:ext>
                </a:extLst>
              </p:cNvPr>
              <p:cNvSpPr/>
              <p:nvPr/>
            </p:nvSpPr>
            <p:spPr>
              <a:xfrm>
                <a:off x="5957866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8" name="Grafik 89">
              <a:extLst>
                <a:ext uri="{FF2B5EF4-FFF2-40B4-BE49-F238E27FC236}">
                  <a16:creationId xmlns:a16="http://schemas.microsoft.com/office/drawing/2014/main" id="{83B051BC-3313-323F-62F3-6B598A43ACE5}"/>
                </a:ext>
              </a:extLst>
            </p:cNvPr>
            <p:cNvGrpSpPr/>
            <p:nvPr/>
          </p:nvGrpSpPr>
          <p:grpSpPr>
            <a:xfrm>
              <a:off x="5945370" y="2153652"/>
              <a:ext cx="47561" cy="44245"/>
              <a:chOff x="5945370" y="2153652"/>
              <a:chExt cx="47561" cy="44245"/>
            </a:xfrm>
          </p:grpSpPr>
          <p:sp>
            <p:nvSpPr>
              <p:cNvPr id="497" name="Freihandform: Form 496">
                <a:extLst>
                  <a:ext uri="{FF2B5EF4-FFF2-40B4-BE49-F238E27FC236}">
                    <a16:creationId xmlns:a16="http://schemas.microsoft.com/office/drawing/2014/main" id="{89464420-1D25-8600-DEEE-E4957CBBB8E3}"/>
                  </a:ext>
                </a:extLst>
              </p:cNvPr>
              <p:cNvSpPr/>
              <p:nvPr/>
            </p:nvSpPr>
            <p:spPr>
              <a:xfrm>
                <a:off x="5969214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8" name="Freihandform: Form 497">
                <a:extLst>
                  <a:ext uri="{FF2B5EF4-FFF2-40B4-BE49-F238E27FC236}">
                    <a16:creationId xmlns:a16="http://schemas.microsoft.com/office/drawing/2014/main" id="{A021C404-BFC7-3B43-7C53-26560E99B381}"/>
                  </a:ext>
                </a:extLst>
              </p:cNvPr>
              <p:cNvSpPr/>
              <p:nvPr/>
            </p:nvSpPr>
            <p:spPr>
              <a:xfrm>
                <a:off x="5945370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9" name="Grafik 89">
              <a:extLst>
                <a:ext uri="{FF2B5EF4-FFF2-40B4-BE49-F238E27FC236}">
                  <a16:creationId xmlns:a16="http://schemas.microsoft.com/office/drawing/2014/main" id="{7C5890E3-3A1C-0C91-56D9-6FDDD96867DA}"/>
                </a:ext>
              </a:extLst>
            </p:cNvPr>
            <p:cNvGrpSpPr/>
            <p:nvPr/>
          </p:nvGrpSpPr>
          <p:grpSpPr>
            <a:xfrm>
              <a:off x="5838517" y="2153652"/>
              <a:ext cx="47561" cy="44245"/>
              <a:chOff x="5838517" y="2153652"/>
              <a:chExt cx="47561" cy="44245"/>
            </a:xfrm>
          </p:grpSpPr>
          <p:sp>
            <p:nvSpPr>
              <p:cNvPr id="495" name="Freihandform: Form 494">
                <a:extLst>
                  <a:ext uri="{FF2B5EF4-FFF2-40B4-BE49-F238E27FC236}">
                    <a16:creationId xmlns:a16="http://schemas.microsoft.com/office/drawing/2014/main" id="{605DF1F5-05E9-1A22-5F84-25BD82C2C391}"/>
                  </a:ext>
                </a:extLst>
              </p:cNvPr>
              <p:cNvSpPr/>
              <p:nvPr/>
            </p:nvSpPr>
            <p:spPr>
              <a:xfrm>
                <a:off x="5862234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6" name="Freihandform: Form 495">
                <a:extLst>
                  <a:ext uri="{FF2B5EF4-FFF2-40B4-BE49-F238E27FC236}">
                    <a16:creationId xmlns:a16="http://schemas.microsoft.com/office/drawing/2014/main" id="{AF231B40-2616-63D1-98B9-4158A0042A92}"/>
                  </a:ext>
                </a:extLst>
              </p:cNvPr>
              <p:cNvSpPr/>
              <p:nvPr/>
            </p:nvSpPr>
            <p:spPr>
              <a:xfrm>
                <a:off x="5838517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0" name="Grafik 89">
              <a:extLst>
                <a:ext uri="{FF2B5EF4-FFF2-40B4-BE49-F238E27FC236}">
                  <a16:creationId xmlns:a16="http://schemas.microsoft.com/office/drawing/2014/main" id="{E0AD385B-A26F-F8A8-D3A8-741D1EB08515}"/>
                </a:ext>
              </a:extLst>
            </p:cNvPr>
            <p:cNvGrpSpPr/>
            <p:nvPr/>
          </p:nvGrpSpPr>
          <p:grpSpPr>
            <a:xfrm>
              <a:off x="5813015" y="2153652"/>
              <a:ext cx="47561" cy="44245"/>
              <a:chOff x="5813015" y="2153652"/>
              <a:chExt cx="47561" cy="44245"/>
            </a:xfrm>
          </p:grpSpPr>
          <p:sp>
            <p:nvSpPr>
              <p:cNvPr id="493" name="Freihandform: Form 492">
                <a:extLst>
                  <a:ext uri="{FF2B5EF4-FFF2-40B4-BE49-F238E27FC236}">
                    <a16:creationId xmlns:a16="http://schemas.microsoft.com/office/drawing/2014/main" id="{FFD8A9EE-8BCA-353B-6603-6328FA8F8951}"/>
                  </a:ext>
                </a:extLst>
              </p:cNvPr>
              <p:cNvSpPr/>
              <p:nvPr/>
            </p:nvSpPr>
            <p:spPr>
              <a:xfrm>
                <a:off x="5836732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4" name="Freihandform: Form 493">
                <a:extLst>
                  <a:ext uri="{FF2B5EF4-FFF2-40B4-BE49-F238E27FC236}">
                    <a16:creationId xmlns:a16="http://schemas.microsoft.com/office/drawing/2014/main" id="{E55675EE-A280-5568-73CE-0290C4C04D80}"/>
                  </a:ext>
                </a:extLst>
              </p:cNvPr>
              <p:cNvSpPr/>
              <p:nvPr/>
            </p:nvSpPr>
            <p:spPr>
              <a:xfrm>
                <a:off x="5813015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1" name="Grafik 89">
              <a:extLst>
                <a:ext uri="{FF2B5EF4-FFF2-40B4-BE49-F238E27FC236}">
                  <a16:creationId xmlns:a16="http://schemas.microsoft.com/office/drawing/2014/main" id="{BE2A808D-D0A9-0D47-62F7-32FE644D54A8}"/>
                </a:ext>
              </a:extLst>
            </p:cNvPr>
            <p:cNvGrpSpPr/>
            <p:nvPr/>
          </p:nvGrpSpPr>
          <p:grpSpPr>
            <a:xfrm>
              <a:off x="5795929" y="2153652"/>
              <a:ext cx="47561" cy="44245"/>
              <a:chOff x="5795929" y="2153652"/>
              <a:chExt cx="47561" cy="44245"/>
            </a:xfrm>
          </p:grpSpPr>
          <p:sp>
            <p:nvSpPr>
              <p:cNvPr id="491" name="Freihandform: Form 490">
                <a:extLst>
                  <a:ext uri="{FF2B5EF4-FFF2-40B4-BE49-F238E27FC236}">
                    <a16:creationId xmlns:a16="http://schemas.microsoft.com/office/drawing/2014/main" id="{0A08E3BA-8985-E5FA-6014-812B9C1948D4}"/>
                  </a:ext>
                </a:extLst>
              </p:cNvPr>
              <p:cNvSpPr/>
              <p:nvPr/>
            </p:nvSpPr>
            <p:spPr>
              <a:xfrm>
                <a:off x="5819646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2" name="Freihandform: Form 491">
                <a:extLst>
                  <a:ext uri="{FF2B5EF4-FFF2-40B4-BE49-F238E27FC236}">
                    <a16:creationId xmlns:a16="http://schemas.microsoft.com/office/drawing/2014/main" id="{630070D7-03EE-A2EB-1E50-60FED29954FE}"/>
                  </a:ext>
                </a:extLst>
              </p:cNvPr>
              <p:cNvSpPr/>
              <p:nvPr/>
            </p:nvSpPr>
            <p:spPr>
              <a:xfrm>
                <a:off x="5795929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2" name="Grafik 89">
              <a:extLst>
                <a:ext uri="{FF2B5EF4-FFF2-40B4-BE49-F238E27FC236}">
                  <a16:creationId xmlns:a16="http://schemas.microsoft.com/office/drawing/2014/main" id="{1E289B8A-D15D-6E4F-8977-AA9251629473}"/>
                </a:ext>
              </a:extLst>
            </p:cNvPr>
            <p:cNvGrpSpPr/>
            <p:nvPr/>
          </p:nvGrpSpPr>
          <p:grpSpPr>
            <a:xfrm>
              <a:off x="5767112" y="2153652"/>
              <a:ext cx="47561" cy="44245"/>
              <a:chOff x="5767112" y="2153652"/>
              <a:chExt cx="47561" cy="44245"/>
            </a:xfrm>
          </p:grpSpPr>
          <p:sp>
            <p:nvSpPr>
              <p:cNvPr id="489" name="Freihandform: Form 488">
                <a:extLst>
                  <a:ext uri="{FF2B5EF4-FFF2-40B4-BE49-F238E27FC236}">
                    <a16:creationId xmlns:a16="http://schemas.microsoft.com/office/drawing/2014/main" id="{1737B854-E308-7430-AB1E-26F64F865522}"/>
                  </a:ext>
                </a:extLst>
              </p:cNvPr>
              <p:cNvSpPr/>
              <p:nvPr/>
            </p:nvSpPr>
            <p:spPr>
              <a:xfrm>
                <a:off x="5790956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0" name="Freihandform: Form 489">
                <a:extLst>
                  <a:ext uri="{FF2B5EF4-FFF2-40B4-BE49-F238E27FC236}">
                    <a16:creationId xmlns:a16="http://schemas.microsoft.com/office/drawing/2014/main" id="{94132B72-31A3-C648-BA36-A277CE45312D}"/>
                  </a:ext>
                </a:extLst>
              </p:cNvPr>
              <p:cNvSpPr/>
              <p:nvPr/>
            </p:nvSpPr>
            <p:spPr>
              <a:xfrm>
                <a:off x="5767112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3" name="Grafik 89">
              <a:extLst>
                <a:ext uri="{FF2B5EF4-FFF2-40B4-BE49-F238E27FC236}">
                  <a16:creationId xmlns:a16="http://schemas.microsoft.com/office/drawing/2014/main" id="{0D1CDA29-952C-E108-491A-4E603E28E6C6}"/>
                </a:ext>
              </a:extLst>
            </p:cNvPr>
            <p:cNvGrpSpPr/>
            <p:nvPr/>
          </p:nvGrpSpPr>
          <p:grpSpPr>
            <a:xfrm>
              <a:off x="5752193" y="2153652"/>
              <a:ext cx="47561" cy="44245"/>
              <a:chOff x="5752193" y="2153652"/>
              <a:chExt cx="47561" cy="44245"/>
            </a:xfrm>
          </p:grpSpPr>
          <p:sp>
            <p:nvSpPr>
              <p:cNvPr id="487" name="Freihandform: Form 486">
                <a:extLst>
                  <a:ext uri="{FF2B5EF4-FFF2-40B4-BE49-F238E27FC236}">
                    <a16:creationId xmlns:a16="http://schemas.microsoft.com/office/drawing/2014/main" id="{3DF12486-3D79-9078-E94C-25DB610B34B2}"/>
                  </a:ext>
                </a:extLst>
              </p:cNvPr>
              <p:cNvSpPr/>
              <p:nvPr/>
            </p:nvSpPr>
            <p:spPr>
              <a:xfrm>
                <a:off x="5776037" y="2153652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8" name="Freihandform: Form 487">
                <a:extLst>
                  <a:ext uri="{FF2B5EF4-FFF2-40B4-BE49-F238E27FC236}">
                    <a16:creationId xmlns:a16="http://schemas.microsoft.com/office/drawing/2014/main" id="{8CB38011-C923-593B-3AA5-C43041F18F7A}"/>
                  </a:ext>
                </a:extLst>
              </p:cNvPr>
              <p:cNvSpPr/>
              <p:nvPr/>
            </p:nvSpPr>
            <p:spPr>
              <a:xfrm>
                <a:off x="5752193" y="217583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4" name="Grafik 89">
              <a:extLst>
                <a:ext uri="{FF2B5EF4-FFF2-40B4-BE49-F238E27FC236}">
                  <a16:creationId xmlns:a16="http://schemas.microsoft.com/office/drawing/2014/main" id="{1F419197-E101-E25D-DFA7-4628F6D24324}"/>
                </a:ext>
              </a:extLst>
            </p:cNvPr>
            <p:cNvGrpSpPr/>
            <p:nvPr/>
          </p:nvGrpSpPr>
          <p:grpSpPr>
            <a:xfrm>
              <a:off x="5714833" y="2114124"/>
              <a:ext cx="47433" cy="44118"/>
              <a:chOff x="5714833" y="2114124"/>
              <a:chExt cx="47433" cy="44118"/>
            </a:xfrm>
          </p:grpSpPr>
          <p:sp>
            <p:nvSpPr>
              <p:cNvPr id="485" name="Freihandform: Form 484">
                <a:extLst>
                  <a:ext uri="{FF2B5EF4-FFF2-40B4-BE49-F238E27FC236}">
                    <a16:creationId xmlns:a16="http://schemas.microsoft.com/office/drawing/2014/main" id="{BFF6203E-0162-76BB-5CAB-298AE86E2B74}"/>
                  </a:ext>
                </a:extLst>
              </p:cNvPr>
              <p:cNvSpPr/>
              <p:nvPr/>
            </p:nvSpPr>
            <p:spPr>
              <a:xfrm>
                <a:off x="5738549" y="211412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6" name="Freihandform: Form 485">
                <a:extLst>
                  <a:ext uri="{FF2B5EF4-FFF2-40B4-BE49-F238E27FC236}">
                    <a16:creationId xmlns:a16="http://schemas.microsoft.com/office/drawing/2014/main" id="{6D0AF870-785E-A26C-DA03-77DB679907C4}"/>
                  </a:ext>
                </a:extLst>
              </p:cNvPr>
              <p:cNvSpPr/>
              <p:nvPr/>
            </p:nvSpPr>
            <p:spPr>
              <a:xfrm>
                <a:off x="5714833" y="2136183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5" name="Grafik 89">
              <a:extLst>
                <a:ext uri="{FF2B5EF4-FFF2-40B4-BE49-F238E27FC236}">
                  <a16:creationId xmlns:a16="http://schemas.microsoft.com/office/drawing/2014/main" id="{D957396F-E6AA-0901-0421-0E675D8113F1}"/>
                </a:ext>
              </a:extLst>
            </p:cNvPr>
            <p:cNvGrpSpPr/>
            <p:nvPr/>
          </p:nvGrpSpPr>
          <p:grpSpPr>
            <a:xfrm>
              <a:off x="5691498" y="2114124"/>
              <a:ext cx="47433" cy="44118"/>
              <a:chOff x="5691498" y="2114124"/>
              <a:chExt cx="47433" cy="44118"/>
            </a:xfrm>
          </p:grpSpPr>
          <p:sp>
            <p:nvSpPr>
              <p:cNvPr id="483" name="Freihandform: Form 482">
                <a:extLst>
                  <a:ext uri="{FF2B5EF4-FFF2-40B4-BE49-F238E27FC236}">
                    <a16:creationId xmlns:a16="http://schemas.microsoft.com/office/drawing/2014/main" id="{0D9390FA-1A04-DF5C-9891-F275CC201387}"/>
                  </a:ext>
                </a:extLst>
              </p:cNvPr>
              <p:cNvSpPr/>
              <p:nvPr/>
            </p:nvSpPr>
            <p:spPr>
              <a:xfrm>
                <a:off x="5715215" y="211412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4" name="Freihandform: Form 483">
                <a:extLst>
                  <a:ext uri="{FF2B5EF4-FFF2-40B4-BE49-F238E27FC236}">
                    <a16:creationId xmlns:a16="http://schemas.microsoft.com/office/drawing/2014/main" id="{2B15C411-F0EE-4A40-8E63-0E50B5DEA4E7}"/>
                  </a:ext>
                </a:extLst>
              </p:cNvPr>
              <p:cNvSpPr/>
              <p:nvPr/>
            </p:nvSpPr>
            <p:spPr>
              <a:xfrm>
                <a:off x="5691498" y="2136183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6" name="Grafik 89">
              <a:extLst>
                <a:ext uri="{FF2B5EF4-FFF2-40B4-BE49-F238E27FC236}">
                  <a16:creationId xmlns:a16="http://schemas.microsoft.com/office/drawing/2014/main" id="{9C9F0FD4-B4AA-5B66-A341-79C23767D92A}"/>
                </a:ext>
              </a:extLst>
            </p:cNvPr>
            <p:cNvGrpSpPr/>
            <p:nvPr/>
          </p:nvGrpSpPr>
          <p:grpSpPr>
            <a:xfrm>
              <a:off x="5586941" y="2114124"/>
              <a:ext cx="47561" cy="44118"/>
              <a:chOff x="5586941" y="2114124"/>
              <a:chExt cx="47561" cy="44118"/>
            </a:xfrm>
          </p:grpSpPr>
          <p:sp>
            <p:nvSpPr>
              <p:cNvPr id="481" name="Freihandform: Form 480">
                <a:extLst>
                  <a:ext uri="{FF2B5EF4-FFF2-40B4-BE49-F238E27FC236}">
                    <a16:creationId xmlns:a16="http://schemas.microsoft.com/office/drawing/2014/main" id="{D346346D-8D72-3175-E987-EA374588C277}"/>
                  </a:ext>
                </a:extLst>
              </p:cNvPr>
              <p:cNvSpPr/>
              <p:nvPr/>
            </p:nvSpPr>
            <p:spPr>
              <a:xfrm>
                <a:off x="5610785" y="211412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Freihandform: Form 481">
                <a:extLst>
                  <a:ext uri="{FF2B5EF4-FFF2-40B4-BE49-F238E27FC236}">
                    <a16:creationId xmlns:a16="http://schemas.microsoft.com/office/drawing/2014/main" id="{53CBFC52-8BAB-01FA-5C0A-7213060BCA72}"/>
                  </a:ext>
                </a:extLst>
              </p:cNvPr>
              <p:cNvSpPr/>
              <p:nvPr/>
            </p:nvSpPr>
            <p:spPr>
              <a:xfrm>
                <a:off x="5586941" y="213618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7" name="Grafik 89">
              <a:extLst>
                <a:ext uri="{FF2B5EF4-FFF2-40B4-BE49-F238E27FC236}">
                  <a16:creationId xmlns:a16="http://schemas.microsoft.com/office/drawing/2014/main" id="{215228E7-F7C1-F66C-027A-6837567F6774}"/>
                </a:ext>
              </a:extLst>
            </p:cNvPr>
            <p:cNvGrpSpPr/>
            <p:nvPr/>
          </p:nvGrpSpPr>
          <p:grpSpPr>
            <a:xfrm>
              <a:off x="5610020" y="2114124"/>
              <a:ext cx="47561" cy="44118"/>
              <a:chOff x="5610020" y="2114124"/>
              <a:chExt cx="47561" cy="44118"/>
            </a:xfrm>
          </p:grpSpPr>
          <p:sp>
            <p:nvSpPr>
              <p:cNvPr id="479" name="Freihandform: Form 478">
                <a:extLst>
                  <a:ext uri="{FF2B5EF4-FFF2-40B4-BE49-F238E27FC236}">
                    <a16:creationId xmlns:a16="http://schemas.microsoft.com/office/drawing/2014/main" id="{DD047F89-B519-D041-8CC5-0655D3148FF5}"/>
                  </a:ext>
                </a:extLst>
              </p:cNvPr>
              <p:cNvSpPr/>
              <p:nvPr/>
            </p:nvSpPr>
            <p:spPr>
              <a:xfrm>
                <a:off x="5633864" y="2114124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Freihandform: Form 479">
                <a:extLst>
                  <a:ext uri="{FF2B5EF4-FFF2-40B4-BE49-F238E27FC236}">
                    <a16:creationId xmlns:a16="http://schemas.microsoft.com/office/drawing/2014/main" id="{56D55AF7-4254-FAB4-7860-2239DC2FC558}"/>
                  </a:ext>
                </a:extLst>
              </p:cNvPr>
              <p:cNvSpPr/>
              <p:nvPr/>
            </p:nvSpPr>
            <p:spPr>
              <a:xfrm>
                <a:off x="5610020" y="213618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8" name="Grafik 89">
              <a:extLst>
                <a:ext uri="{FF2B5EF4-FFF2-40B4-BE49-F238E27FC236}">
                  <a16:creationId xmlns:a16="http://schemas.microsoft.com/office/drawing/2014/main" id="{F7D2F236-44CF-8209-0E6F-F1B9CFAF4DB4}"/>
                </a:ext>
              </a:extLst>
            </p:cNvPr>
            <p:cNvGrpSpPr/>
            <p:nvPr/>
          </p:nvGrpSpPr>
          <p:grpSpPr>
            <a:xfrm>
              <a:off x="5581840" y="2079059"/>
              <a:ext cx="47561" cy="44245"/>
              <a:chOff x="5581840" y="2079059"/>
              <a:chExt cx="47561" cy="44245"/>
            </a:xfrm>
          </p:grpSpPr>
          <p:sp>
            <p:nvSpPr>
              <p:cNvPr id="477" name="Freihandform: Form 476">
                <a:extLst>
                  <a:ext uri="{FF2B5EF4-FFF2-40B4-BE49-F238E27FC236}">
                    <a16:creationId xmlns:a16="http://schemas.microsoft.com/office/drawing/2014/main" id="{625E2A76-E16F-4AC3-8BF1-AAAFE4ACED4F}"/>
                  </a:ext>
                </a:extLst>
              </p:cNvPr>
              <p:cNvSpPr/>
              <p:nvPr/>
            </p:nvSpPr>
            <p:spPr>
              <a:xfrm>
                <a:off x="5605557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8" name="Freihandform: Form 477">
                <a:extLst>
                  <a:ext uri="{FF2B5EF4-FFF2-40B4-BE49-F238E27FC236}">
                    <a16:creationId xmlns:a16="http://schemas.microsoft.com/office/drawing/2014/main" id="{273A5E5B-9BA7-153E-18F4-688AC26A5425}"/>
                  </a:ext>
                </a:extLst>
              </p:cNvPr>
              <p:cNvSpPr/>
              <p:nvPr/>
            </p:nvSpPr>
            <p:spPr>
              <a:xfrm>
                <a:off x="5581840" y="210111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29" name="Grafik 89">
              <a:extLst>
                <a:ext uri="{FF2B5EF4-FFF2-40B4-BE49-F238E27FC236}">
                  <a16:creationId xmlns:a16="http://schemas.microsoft.com/office/drawing/2014/main" id="{7502F2F2-E3C1-695B-00DC-374EDECB9BEF}"/>
                </a:ext>
              </a:extLst>
            </p:cNvPr>
            <p:cNvGrpSpPr/>
            <p:nvPr/>
          </p:nvGrpSpPr>
          <p:grpSpPr>
            <a:xfrm>
              <a:off x="5569344" y="2079059"/>
              <a:ext cx="47561" cy="44245"/>
              <a:chOff x="5569344" y="2079059"/>
              <a:chExt cx="47561" cy="44245"/>
            </a:xfrm>
          </p:grpSpPr>
          <p:sp>
            <p:nvSpPr>
              <p:cNvPr id="475" name="Freihandform: Form 474">
                <a:extLst>
                  <a:ext uri="{FF2B5EF4-FFF2-40B4-BE49-F238E27FC236}">
                    <a16:creationId xmlns:a16="http://schemas.microsoft.com/office/drawing/2014/main" id="{E3BE4168-1234-0C0C-92AD-9B130BEA0FD6}"/>
                  </a:ext>
                </a:extLst>
              </p:cNvPr>
              <p:cNvSpPr/>
              <p:nvPr/>
            </p:nvSpPr>
            <p:spPr>
              <a:xfrm>
                <a:off x="5593189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6" name="Freihandform: Form 475">
                <a:extLst>
                  <a:ext uri="{FF2B5EF4-FFF2-40B4-BE49-F238E27FC236}">
                    <a16:creationId xmlns:a16="http://schemas.microsoft.com/office/drawing/2014/main" id="{3A7E0068-548B-DB81-CCDF-770245344186}"/>
                  </a:ext>
                </a:extLst>
              </p:cNvPr>
              <p:cNvSpPr/>
              <p:nvPr/>
            </p:nvSpPr>
            <p:spPr>
              <a:xfrm>
                <a:off x="5569344" y="210111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0" name="Grafik 89">
              <a:extLst>
                <a:ext uri="{FF2B5EF4-FFF2-40B4-BE49-F238E27FC236}">
                  <a16:creationId xmlns:a16="http://schemas.microsoft.com/office/drawing/2014/main" id="{42754D6D-9F36-41FC-6218-AA6CA30BCA64}"/>
                </a:ext>
              </a:extLst>
            </p:cNvPr>
            <p:cNvGrpSpPr/>
            <p:nvPr/>
          </p:nvGrpSpPr>
          <p:grpSpPr>
            <a:xfrm>
              <a:off x="5537850" y="2079059"/>
              <a:ext cx="47561" cy="44245"/>
              <a:chOff x="5537850" y="2079059"/>
              <a:chExt cx="47561" cy="44245"/>
            </a:xfrm>
          </p:grpSpPr>
          <p:sp>
            <p:nvSpPr>
              <p:cNvPr id="473" name="Freihandform: Form 472">
                <a:extLst>
                  <a:ext uri="{FF2B5EF4-FFF2-40B4-BE49-F238E27FC236}">
                    <a16:creationId xmlns:a16="http://schemas.microsoft.com/office/drawing/2014/main" id="{CDF6AEC8-D58C-E475-2F54-15607E362ECD}"/>
                  </a:ext>
                </a:extLst>
              </p:cNvPr>
              <p:cNvSpPr/>
              <p:nvPr/>
            </p:nvSpPr>
            <p:spPr>
              <a:xfrm>
                <a:off x="5561694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4" name="Freihandform: Form 473">
                <a:extLst>
                  <a:ext uri="{FF2B5EF4-FFF2-40B4-BE49-F238E27FC236}">
                    <a16:creationId xmlns:a16="http://schemas.microsoft.com/office/drawing/2014/main" id="{532D83D4-11FB-137F-B836-DEB09200157E}"/>
                  </a:ext>
                </a:extLst>
              </p:cNvPr>
              <p:cNvSpPr/>
              <p:nvPr/>
            </p:nvSpPr>
            <p:spPr>
              <a:xfrm>
                <a:off x="5537850" y="210111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1" name="Grafik 89">
              <a:extLst>
                <a:ext uri="{FF2B5EF4-FFF2-40B4-BE49-F238E27FC236}">
                  <a16:creationId xmlns:a16="http://schemas.microsoft.com/office/drawing/2014/main" id="{C5EB5F56-AD7F-6D8E-BF96-29295F3BB9F2}"/>
                </a:ext>
              </a:extLst>
            </p:cNvPr>
            <p:cNvGrpSpPr/>
            <p:nvPr/>
          </p:nvGrpSpPr>
          <p:grpSpPr>
            <a:xfrm>
              <a:off x="5511073" y="2079059"/>
              <a:ext cx="47561" cy="44245"/>
              <a:chOff x="5511073" y="2079059"/>
              <a:chExt cx="47561" cy="44245"/>
            </a:xfrm>
          </p:grpSpPr>
          <p:sp>
            <p:nvSpPr>
              <p:cNvPr id="471" name="Freihandform: Form 470">
                <a:extLst>
                  <a:ext uri="{FF2B5EF4-FFF2-40B4-BE49-F238E27FC236}">
                    <a16:creationId xmlns:a16="http://schemas.microsoft.com/office/drawing/2014/main" id="{69926C7F-8C07-28B6-6578-1BBB60E04E4D}"/>
                  </a:ext>
                </a:extLst>
              </p:cNvPr>
              <p:cNvSpPr/>
              <p:nvPr/>
            </p:nvSpPr>
            <p:spPr>
              <a:xfrm>
                <a:off x="5534789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2" name="Freihandform: Form 471">
                <a:extLst>
                  <a:ext uri="{FF2B5EF4-FFF2-40B4-BE49-F238E27FC236}">
                    <a16:creationId xmlns:a16="http://schemas.microsoft.com/office/drawing/2014/main" id="{85071DDB-CF51-CD6B-BECF-B7CA9015FADB}"/>
                  </a:ext>
                </a:extLst>
              </p:cNvPr>
              <p:cNvSpPr/>
              <p:nvPr/>
            </p:nvSpPr>
            <p:spPr>
              <a:xfrm>
                <a:off x="5511073" y="210111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2" name="Grafik 89">
              <a:extLst>
                <a:ext uri="{FF2B5EF4-FFF2-40B4-BE49-F238E27FC236}">
                  <a16:creationId xmlns:a16="http://schemas.microsoft.com/office/drawing/2014/main" id="{445781E6-3464-F070-2162-147CF3299AB4}"/>
                </a:ext>
              </a:extLst>
            </p:cNvPr>
            <p:cNvGrpSpPr/>
            <p:nvPr/>
          </p:nvGrpSpPr>
          <p:grpSpPr>
            <a:xfrm>
              <a:off x="5483658" y="2079059"/>
              <a:ext cx="47561" cy="44245"/>
              <a:chOff x="5483658" y="2079059"/>
              <a:chExt cx="47561" cy="44245"/>
            </a:xfrm>
          </p:grpSpPr>
          <p:sp>
            <p:nvSpPr>
              <p:cNvPr id="469" name="Freihandform: Form 468">
                <a:extLst>
                  <a:ext uri="{FF2B5EF4-FFF2-40B4-BE49-F238E27FC236}">
                    <a16:creationId xmlns:a16="http://schemas.microsoft.com/office/drawing/2014/main" id="{5607FD52-E05C-327E-50A6-B41CC6E73E22}"/>
                  </a:ext>
                </a:extLst>
              </p:cNvPr>
              <p:cNvSpPr/>
              <p:nvPr/>
            </p:nvSpPr>
            <p:spPr>
              <a:xfrm>
                <a:off x="5507375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0" name="Freihandform: Form 469">
                <a:extLst>
                  <a:ext uri="{FF2B5EF4-FFF2-40B4-BE49-F238E27FC236}">
                    <a16:creationId xmlns:a16="http://schemas.microsoft.com/office/drawing/2014/main" id="{F15A14A4-F31B-F3A4-F551-CE2EB0269C13}"/>
                  </a:ext>
                </a:extLst>
              </p:cNvPr>
              <p:cNvSpPr/>
              <p:nvPr/>
            </p:nvSpPr>
            <p:spPr>
              <a:xfrm>
                <a:off x="5483658" y="210111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3" name="Grafik 89">
              <a:extLst>
                <a:ext uri="{FF2B5EF4-FFF2-40B4-BE49-F238E27FC236}">
                  <a16:creationId xmlns:a16="http://schemas.microsoft.com/office/drawing/2014/main" id="{13F5CE3F-7A96-1733-3E92-0E8BFF75542E}"/>
                </a:ext>
              </a:extLst>
            </p:cNvPr>
            <p:cNvGrpSpPr/>
            <p:nvPr/>
          </p:nvGrpSpPr>
          <p:grpSpPr>
            <a:xfrm>
              <a:off x="5457008" y="2079059"/>
              <a:ext cx="47561" cy="44245"/>
              <a:chOff x="5457008" y="2079059"/>
              <a:chExt cx="47561" cy="44245"/>
            </a:xfrm>
          </p:grpSpPr>
          <p:sp>
            <p:nvSpPr>
              <p:cNvPr id="467" name="Freihandform: Form 466">
                <a:extLst>
                  <a:ext uri="{FF2B5EF4-FFF2-40B4-BE49-F238E27FC236}">
                    <a16:creationId xmlns:a16="http://schemas.microsoft.com/office/drawing/2014/main" id="{1CDD862B-51F4-852E-DF8D-F671C82441CB}"/>
                  </a:ext>
                </a:extLst>
              </p:cNvPr>
              <p:cNvSpPr/>
              <p:nvPr/>
            </p:nvSpPr>
            <p:spPr>
              <a:xfrm>
                <a:off x="5480853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8" name="Freihandform: Form 467">
                <a:extLst>
                  <a:ext uri="{FF2B5EF4-FFF2-40B4-BE49-F238E27FC236}">
                    <a16:creationId xmlns:a16="http://schemas.microsoft.com/office/drawing/2014/main" id="{08B38FDC-A506-36E0-5DEF-C35820DAB58E}"/>
                  </a:ext>
                </a:extLst>
              </p:cNvPr>
              <p:cNvSpPr/>
              <p:nvPr/>
            </p:nvSpPr>
            <p:spPr>
              <a:xfrm>
                <a:off x="5457008" y="210111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4" name="Grafik 89">
              <a:extLst>
                <a:ext uri="{FF2B5EF4-FFF2-40B4-BE49-F238E27FC236}">
                  <a16:creationId xmlns:a16="http://schemas.microsoft.com/office/drawing/2014/main" id="{3659F395-4F34-FE54-6C88-3B8EE25681AA}"/>
                </a:ext>
              </a:extLst>
            </p:cNvPr>
            <p:cNvGrpSpPr/>
            <p:nvPr/>
          </p:nvGrpSpPr>
          <p:grpSpPr>
            <a:xfrm>
              <a:off x="5415058" y="2079059"/>
              <a:ext cx="47433" cy="44245"/>
              <a:chOff x="5415058" y="2079059"/>
              <a:chExt cx="47433" cy="44245"/>
            </a:xfrm>
          </p:grpSpPr>
          <p:sp>
            <p:nvSpPr>
              <p:cNvPr id="465" name="Freihandform: Form 464">
                <a:extLst>
                  <a:ext uri="{FF2B5EF4-FFF2-40B4-BE49-F238E27FC236}">
                    <a16:creationId xmlns:a16="http://schemas.microsoft.com/office/drawing/2014/main" id="{AA34FA6E-DA93-3C9E-9D83-A2706D7CB193}"/>
                  </a:ext>
                </a:extLst>
              </p:cNvPr>
              <p:cNvSpPr/>
              <p:nvPr/>
            </p:nvSpPr>
            <p:spPr>
              <a:xfrm>
                <a:off x="5438775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6" name="Freihandform: Form 465">
                <a:extLst>
                  <a:ext uri="{FF2B5EF4-FFF2-40B4-BE49-F238E27FC236}">
                    <a16:creationId xmlns:a16="http://schemas.microsoft.com/office/drawing/2014/main" id="{34CFF691-9E1E-F5D8-4F15-167ACC487D43}"/>
                  </a:ext>
                </a:extLst>
              </p:cNvPr>
              <p:cNvSpPr/>
              <p:nvPr/>
            </p:nvSpPr>
            <p:spPr>
              <a:xfrm>
                <a:off x="5415058" y="2101118"/>
                <a:ext cx="47433" cy="12750"/>
              </a:xfrm>
              <a:custGeom>
                <a:avLst/>
                <a:gdLst>
                  <a:gd name="connsiteX0" fmla="*/ 47433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5" name="Grafik 89">
              <a:extLst>
                <a:ext uri="{FF2B5EF4-FFF2-40B4-BE49-F238E27FC236}">
                  <a16:creationId xmlns:a16="http://schemas.microsoft.com/office/drawing/2014/main" id="{E71CC547-CB23-D942-F75E-845DA0BAAE4B}"/>
                </a:ext>
              </a:extLst>
            </p:cNvPr>
            <p:cNvGrpSpPr/>
            <p:nvPr/>
          </p:nvGrpSpPr>
          <p:grpSpPr>
            <a:xfrm>
              <a:off x="5375147" y="2079059"/>
              <a:ext cx="47561" cy="44245"/>
              <a:chOff x="5375147" y="2079059"/>
              <a:chExt cx="47561" cy="44245"/>
            </a:xfrm>
          </p:grpSpPr>
          <p:sp>
            <p:nvSpPr>
              <p:cNvPr id="463" name="Freihandform: Form 462">
                <a:extLst>
                  <a:ext uri="{FF2B5EF4-FFF2-40B4-BE49-F238E27FC236}">
                    <a16:creationId xmlns:a16="http://schemas.microsoft.com/office/drawing/2014/main" id="{BE840ADC-88D9-331B-BF2E-79CE7B182B3D}"/>
                  </a:ext>
                </a:extLst>
              </p:cNvPr>
              <p:cNvSpPr/>
              <p:nvPr/>
            </p:nvSpPr>
            <p:spPr>
              <a:xfrm>
                <a:off x="5398864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4" name="Freihandform: Form 463">
                <a:extLst>
                  <a:ext uri="{FF2B5EF4-FFF2-40B4-BE49-F238E27FC236}">
                    <a16:creationId xmlns:a16="http://schemas.microsoft.com/office/drawing/2014/main" id="{D4B2F008-BB88-01F7-13B2-36E0140AFE53}"/>
                  </a:ext>
                </a:extLst>
              </p:cNvPr>
              <p:cNvSpPr/>
              <p:nvPr/>
            </p:nvSpPr>
            <p:spPr>
              <a:xfrm>
                <a:off x="5375147" y="210111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6" name="Grafik 89">
              <a:extLst>
                <a:ext uri="{FF2B5EF4-FFF2-40B4-BE49-F238E27FC236}">
                  <a16:creationId xmlns:a16="http://schemas.microsoft.com/office/drawing/2014/main" id="{1C93F715-5839-0FEC-4995-1495C834A0B0}"/>
                </a:ext>
              </a:extLst>
            </p:cNvPr>
            <p:cNvGrpSpPr/>
            <p:nvPr/>
          </p:nvGrpSpPr>
          <p:grpSpPr>
            <a:xfrm>
              <a:off x="5291246" y="2079059"/>
              <a:ext cx="47561" cy="44245"/>
              <a:chOff x="5291246" y="2079059"/>
              <a:chExt cx="47561" cy="44245"/>
            </a:xfrm>
          </p:grpSpPr>
          <p:sp>
            <p:nvSpPr>
              <p:cNvPr id="461" name="Freihandform: Form 460">
                <a:extLst>
                  <a:ext uri="{FF2B5EF4-FFF2-40B4-BE49-F238E27FC236}">
                    <a16:creationId xmlns:a16="http://schemas.microsoft.com/office/drawing/2014/main" id="{8AABEC0C-960C-4BB4-84A3-2C710685F57B}"/>
                  </a:ext>
                </a:extLst>
              </p:cNvPr>
              <p:cNvSpPr/>
              <p:nvPr/>
            </p:nvSpPr>
            <p:spPr>
              <a:xfrm>
                <a:off x="5315090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2" name="Freihandform: Form 461">
                <a:extLst>
                  <a:ext uri="{FF2B5EF4-FFF2-40B4-BE49-F238E27FC236}">
                    <a16:creationId xmlns:a16="http://schemas.microsoft.com/office/drawing/2014/main" id="{B528F032-763F-758B-1372-B8041100D8D2}"/>
                  </a:ext>
                </a:extLst>
              </p:cNvPr>
              <p:cNvSpPr/>
              <p:nvPr/>
            </p:nvSpPr>
            <p:spPr>
              <a:xfrm>
                <a:off x="5291246" y="210111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7" name="Grafik 89">
              <a:extLst>
                <a:ext uri="{FF2B5EF4-FFF2-40B4-BE49-F238E27FC236}">
                  <a16:creationId xmlns:a16="http://schemas.microsoft.com/office/drawing/2014/main" id="{938EAB68-4F92-45A2-3745-7B47ACA52C43}"/>
                </a:ext>
              </a:extLst>
            </p:cNvPr>
            <p:cNvGrpSpPr/>
            <p:nvPr/>
          </p:nvGrpSpPr>
          <p:grpSpPr>
            <a:xfrm>
              <a:off x="5181843" y="2079059"/>
              <a:ext cx="47561" cy="44245"/>
              <a:chOff x="5181843" y="2079059"/>
              <a:chExt cx="47561" cy="44245"/>
            </a:xfrm>
          </p:grpSpPr>
          <p:sp>
            <p:nvSpPr>
              <p:cNvPr id="459" name="Freihandform: Form 458">
                <a:extLst>
                  <a:ext uri="{FF2B5EF4-FFF2-40B4-BE49-F238E27FC236}">
                    <a16:creationId xmlns:a16="http://schemas.microsoft.com/office/drawing/2014/main" id="{5F271424-FC42-010D-DEA5-B8A7F0669206}"/>
                  </a:ext>
                </a:extLst>
              </p:cNvPr>
              <p:cNvSpPr/>
              <p:nvPr/>
            </p:nvSpPr>
            <p:spPr>
              <a:xfrm>
                <a:off x="5205560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0" name="Freihandform: Form 459">
                <a:extLst>
                  <a:ext uri="{FF2B5EF4-FFF2-40B4-BE49-F238E27FC236}">
                    <a16:creationId xmlns:a16="http://schemas.microsoft.com/office/drawing/2014/main" id="{AFDED72D-9D1D-B822-7C91-A184249FAF7E}"/>
                  </a:ext>
                </a:extLst>
              </p:cNvPr>
              <p:cNvSpPr/>
              <p:nvPr/>
            </p:nvSpPr>
            <p:spPr>
              <a:xfrm>
                <a:off x="5181843" y="2101118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8" name="Grafik 89">
              <a:extLst>
                <a:ext uri="{FF2B5EF4-FFF2-40B4-BE49-F238E27FC236}">
                  <a16:creationId xmlns:a16="http://schemas.microsoft.com/office/drawing/2014/main" id="{70B703A4-D955-9A4F-3C20-8DF4C8E6F573}"/>
                </a:ext>
              </a:extLst>
            </p:cNvPr>
            <p:cNvGrpSpPr/>
            <p:nvPr/>
          </p:nvGrpSpPr>
          <p:grpSpPr>
            <a:xfrm>
              <a:off x="5157871" y="2079059"/>
              <a:ext cx="47433" cy="44245"/>
              <a:chOff x="5157871" y="2079059"/>
              <a:chExt cx="47433" cy="44245"/>
            </a:xfrm>
          </p:grpSpPr>
          <p:sp>
            <p:nvSpPr>
              <p:cNvPr id="457" name="Freihandform: Form 456">
                <a:extLst>
                  <a:ext uri="{FF2B5EF4-FFF2-40B4-BE49-F238E27FC236}">
                    <a16:creationId xmlns:a16="http://schemas.microsoft.com/office/drawing/2014/main" id="{4F280384-2D79-5F60-B2A2-D6090E7CE516}"/>
                  </a:ext>
                </a:extLst>
              </p:cNvPr>
              <p:cNvSpPr/>
              <p:nvPr/>
            </p:nvSpPr>
            <p:spPr>
              <a:xfrm>
                <a:off x="5181588" y="2079059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8" name="Freihandform: Form 457">
                <a:extLst>
                  <a:ext uri="{FF2B5EF4-FFF2-40B4-BE49-F238E27FC236}">
                    <a16:creationId xmlns:a16="http://schemas.microsoft.com/office/drawing/2014/main" id="{1EEC20BE-B940-EFE6-5789-AF38DD3CE3B7}"/>
                  </a:ext>
                </a:extLst>
              </p:cNvPr>
              <p:cNvSpPr/>
              <p:nvPr/>
            </p:nvSpPr>
            <p:spPr>
              <a:xfrm>
                <a:off x="5157871" y="2101118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39" name="Grafik 89">
              <a:extLst>
                <a:ext uri="{FF2B5EF4-FFF2-40B4-BE49-F238E27FC236}">
                  <a16:creationId xmlns:a16="http://schemas.microsoft.com/office/drawing/2014/main" id="{BD61CC0C-EE9F-9CEE-7937-550978D27D3E}"/>
                </a:ext>
              </a:extLst>
            </p:cNvPr>
            <p:cNvGrpSpPr/>
            <p:nvPr/>
          </p:nvGrpSpPr>
          <p:grpSpPr>
            <a:xfrm>
              <a:off x="4783376" y="1984320"/>
              <a:ext cx="47561" cy="44118"/>
              <a:chOff x="4783376" y="1984320"/>
              <a:chExt cx="47561" cy="44118"/>
            </a:xfrm>
          </p:grpSpPr>
          <p:sp>
            <p:nvSpPr>
              <p:cNvPr id="455" name="Freihandform: Form 454">
                <a:extLst>
                  <a:ext uri="{FF2B5EF4-FFF2-40B4-BE49-F238E27FC236}">
                    <a16:creationId xmlns:a16="http://schemas.microsoft.com/office/drawing/2014/main" id="{9D968AEE-529E-B969-34A2-46680AF08442}"/>
                  </a:ext>
                </a:extLst>
              </p:cNvPr>
              <p:cNvSpPr/>
              <p:nvPr/>
            </p:nvSpPr>
            <p:spPr>
              <a:xfrm>
                <a:off x="4807220" y="198432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6" name="Freihandform: Form 455">
                <a:extLst>
                  <a:ext uri="{FF2B5EF4-FFF2-40B4-BE49-F238E27FC236}">
                    <a16:creationId xmlns:a16="http://schemas.microsoft.com/office/drawing/2014/main" id="{4DB1A4EE-A1FD-6837-3C1A-6585A884563A}"/>
                  </a:ext>
                </a:extLst>
              </p:cNvPr>
              <p:cNvSpPr/>
              <p:nvPr/>
            </p:nvSpPr>
            <p:spPr>
              <a:xfrm>
                <a:off x="4783376" y="200637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40" name="Grafik 89">
              <a:extLst>
                <a:ext uri="{FF2B5EF4-FFF2-40B4-BE49-F238E27FC236}">
                  <a16:creationId xmlns:a16="http://schemas.microsoft.com/office/drawing/2014/main" id="{B427AF46-8C98-F715-395F-7D3B37F3EA69}"/>
                </a:ext>
              </a:extLst>
            </p:cNvPr>
            <p:cNvGrpSpPr/>
            <p:nvPr/>
          </p:nvGrpSpPr>
          <p:grpSpPr>
            <a:xfrm>
              <a:off x="4721534" y="1984320"/>
              <a:ext cx="47561" cy="44118"/>
              <a:chOff x="4721534" y="1984320"/>
              <a:chExt cx="47561" cy="44118"/>
            </a:xfrm>
          </p:grpSpPr>
          <p:sp>
            <p:nvSpPr>
              <p:cNvPr id="453" name="Freihandform: Form 452">
                <a:extLst>
                  <a:ext uri="{FF2B5EF4-FFF2-40B4-BE49-F238E27FC236}">
                    <a16:creationId xmlns:a16="http://schemas.microsoft.com/office/drawing/2014/main" id="{7203E750-C4AB-76E3-1438-448AF31E259E}"/>
                  </a:ext>
                </a:extLst>
              </p:cNvPr>
              <p:cNvSpPr/>
              <p:nvPr/>
            </p:nvSpPr>
            <p:spPr>
              <a:xfrm>
                <a:off x="4745378" y="1984320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Freihandform: Form 453">
                <a:extLst>
                  <a:ext uri="{FF2B5EF4-FFF2-40B4-BE49-F238E27FC236}">
                    <a16:creationId xmlns:a16="http://schemas.microsoft.com/office/drawing/2014/main" id="{152488AA-41F1-4674-84A4-66A65E38E536}"/>
                  </a:ext>
                </a:extLst>
              </p:cNvPr>
              <p:cNvSpPr/>
              <p:nvPr/>
            </p:nvSpPr>
            <p:spPr>
              <a:xfrm>
                <a:off x="4721534" y="2006379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41" name="Grafik 89">
              <a:extLst>
                <a:ext uri="{FF2B5EF4-FFF2-40B4-BE49-F238E27FC236}">
                  <a16:creationId xmlns:a16="http://schemas.microsoft.com/office/drawing/2014/main" id="{1BEE4682-C222-7D50-2998-2200EFC4E71F}"/>
                </a:ext>
              </a:extLst>
            </p:cNvPr>
            <p:cNvGrpSpPr/>
            <p:nvPr/>
          </p:nvGrpSpPr>
          <p:grpSpPr>
            <a:xfrm>
              <a:off x="4233555" y="1817155"/>
              <a:ext cx="47433" cy="44118"/>
              <a:chOff x="4233555" y="1817155"/>
              <a:chExt cx="47433" cy="44118"/>
            </a:xfrm>
          </p:grpSpPr>
          <p:sp>
            <p:nvSpPr>
              <p:cNvPr id="451" name="Freihandform: Form 450">
                <a:extLst>
                  <a:ext uri="{FF2B5EF4-FFF2-40B4-BE49-F238E27FC236}">
                    <a16:creationId xmlns:a16="http://schemas.microsoft.com/office/drawing/2014/main" id="{F3818072-35D4-8265-5680-BEF6C2DDC11F}"/>
                  </a:ext>
                </a:extLst>
              </p:cNvPr>
              <p:cNvSpPr/>
              <p:nvPr/>
            </p:nvSpPr>
            <p:spPr>
              <a:xfrm>
                <a:off x="4257271" y="1817155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Freihandform: Form 451">
                <a:extLst>
                  <a:ext uri="{FF2B5EF4-FFF2-40B4-BE49-F238E27FC236}">
                    <a16:creationId xmlns:a16="http://schemas.microsoft.com/office/drawing/2014/main" id="{948AEDC5-06CF-8487-D82B-319A4E4BECC2}"/>
                  </a:ext>
                </a:extLst>
              </p:cNvPr>
              <p:cNvSpPr/>
              <p:nvPr/>
            </p:nvSpPr>
            <p:spPr>
              <a:xfrm>
                <a:off x="4233555" y="1839214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42" name="Grafik 89">
              <a:extLst>
                <a:ext uri="{FF2B5EF4-FFF2-40B4-BE49-F238E27FC236}">
                  <a16:creationId xmlns:a16="http://schemas.microsoft.com/office/drawing/2014/main" id="{1323CB5B-FB07-2484-2415-6D02F29FE6DD}"/>
                </a:ext>
              </a:extLst>
            </p:cNvPr>
            <p:cNvGrpSpPr/>
            <p:nvPr/>
          </p:nvGrpSpPr>
          <p:grpSpPr>
            <a:xfrm>
              <a:off x="4112803" y="1817155"/>
              <a:ext cx="47561" cy="44118"/>
              <a:chOff x="4112803" y="1817155"/>
              <a:chExt cx="47561" cy="44118"/>
            </a:xfrm>
          </p:grpSpPr>
          <p:sp>
            <p:nvSpPr>
              <p:cNvPr id="449" name="Freihandform: Form 448">
                <a:extLst>
                  <a:ext uri="{FF2B5EF4-FFF2-40B4-BE49-F238E27FC236}">
                    <a16:creationId xmlns:a16="http://schemas.microsoft.com/office/drawing/2014/main" id="{D3BF5F2A-9764-D817-980C-6AA8F270ECA5}"/>
                  </a:ext>
                </a:extLst>
              </p:cNvPr>
              <p:cNvSpPr/>
              <p:nvPr/>
            </p:nvSpPr>
            <p:spPr>
              <a:xfrm>
                <a:off x="4136520" y="1817155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0" name="Freihandform: Form 449">
                <a:extLst>
                  <a:ext uri="{FF2B5EF4-FFF2-40B4-BE49-F238E27FC236}">
                    <a16:creationId xmlns:a16="http://schemas.microsoft.com/office/drawing/2014/main" id="{034F4EA8-83B8-5258-EFE6-21D8BF54D1A7}"/>
                  </a:ext>
                </a:extLst>
              </p:cNvPr>
              <p:cNvSpPr/>
              <p:nvPr/>
            </p:nvSpPr>
            <p:spPr>
              <a:xfrm>
                <a:off x="4112803" y="1839214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43" name="Grafik 89">
              <a:extLst>
                <a:ext uri="{FF2B5EF4-FFF2-40B4-BE49-F238E27FC236}">
                  <a16:creationId xmlns:a16="http://schemas.microsoft.com/office/drawing/2014/main" id="{78A32572-189D-A9FC-7BB9-A56CA984657B}"/>
                </a:ext>
              </a:extLst>
            </p:cNvPr>
            <p:cNvGrpSpPr/>
            <p:nvPr/>
          </p:nvGrpSpPr>
          <p:grpSpPr>
            <a:xfrm>
              <a:off x="4086791" y="1817155"/>
              <a:ext cx="47433" cy="44118"/>
              <a:chOff x="4086791" y="1817155"/>
              <a:chExt cx="47433" cy="44118"/>
            </a:xfrm>
          </p:grpSpPr>
          <p:sp>
            <p:nvSpPr>
              <p:cNvPr id="447" name="Freihandform: Form 446">
                <a:extLst>
                  <a:ext uri="{FF2B5EF4-FFF2-40B4-BE49-F238E27FC236}">
                    <a16:creationId xmlns:a16="http://schemas.microsoft.com/office/drawing/2014/main" id="{AE1E3208-5409-CD69-0080-9F71166F72E5}"/>
                  </a:ext>
                </a:extLst>
              </p:cNvPr>
              <p:cNvSpPr/>
              <p:nvPr/>
            </p:nvSpPr>
            <p:spPr>
              <a:xfrm>
                <a:off x="4110508" y="1817155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8" name="Freihandform: Form 447">
                <a:extLst>
                  <a:ext uri="{FF2B5EF4-FFF2-40B4-BE49-F238E27FC236}">
                    <a16:creationId xmlns:a16="http://schemas.microsoft.com/office/drawing/2014/main" id="{FA3B583A-4C77-52C6-D9CE-D69AD2743993}"/>
                  </a:ext>
                </a:extLst>
              </p:cNvPr>
              <p:cNvSpPr/>
              <p:nvPr/>
            </p:nvSpPr>
            <p:spPr>
              <a:xfrm>
                <a:off x="4086791" y="1839214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44" name="Grafik 89">
              <a:extLst>
                <a:ext uri="{FF2B5EF4-FFF2-40B4-BE49-F238E27FC236}">
                  <a16:creationId xmlns:a16="http://schemas.microsoft.com/office/drawing/2014/main" id="{FE118EDC-EAD8-C0BD-C9F7-F1B5FB6AE09D}"/>
                </a:ext>
              </a:extLst>
            </p:cNvPr>
            <p:cNvGrpSpPr/>
            <p:nvPr/>
          </p:nvGrpSpPr>
          <p:grpSpPr>
            <a:xfrm>
              <a:off x="2739781" y="1272306"/>
              <a:ext cx="47561" cy="44118"/>
              <a:chOff x="2739781" y="1272306"/>
              <a:chExt cx="47561" cy="44118"/>
            </a:xfrm>
          </p:grpSpPr>
          <p:sp>
            <p:nvSpPr>
              <p:cNvPr id="445" name="Freihandform: Form 444">
                <a:extLst>
                  <a:ext uri="{FF2B5EF4-FFF2-40B4-BE49-F238E27FC236}">
                    <a16:creationId xmlns:a16="http://schemas.microsoft.com/office/drawing/2014/main" id="{05785CF6-F8CC-1180-0756-74E868EEF373}"/>
                  </a:ext>
                </a:extLst>
              </p:cNvPr>
              <p:cNvSpPr/>
              <p:nvPr/>
            </p:nvSpPr>
            <p:spPr>
              <a:xfrm>
                <a:off x="2763497" y="1272306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6" name="Freihandform: Form 445">
                <a:extLst>
                  <a:ext uri="{FF2B5EF4-FFF2-40B4-BE49-F238E27FC236}">
                    <a16:creationId xmlns:a16="http://schemas.microsoft.com/office/drawing/2014/main" id="{793C1F3E-5C9A-6A09-91AC-505BFC693B57}"/>
                  </a:ext>
                </a:extLst>
              </p:cNvPr>
              <p:cNvSpPr/>
              <p:nvPr/>
            </p:nvSpPr>
            <p:spPr>
              <a:xfrm>
                <a:off x="2739781" y="1294366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33" name="Grafik 89">
            <a:extLst>
              <a:ext uri="{FF2B5EF4-FFF2-40B4-BE49-F238E27FC236}">
                <a16:creationId xmlns:a16="http://schemas.microsoft.com/office/drawing/2014/main" id="{3D3F8208-B0C4-A353-A57E-0EF80FBBDE23}"/>
              </a:ext>
            </a:extLst>
          </p:cNvPr>
          <p:cNvGrpSpPr/>
          <p:nvPr/>
        </p:nvGrpSpPr>
        <p:grpSpPr>
          <a:xfrm>
            <a:off x="2599245" y="1101725"/>
            <a:ext cx="4448552" cy="1121701"/>
            <a:chOff x="2128628" y="1174889"/>
            <a:chExt cx="4448552" cy="1121701"/>
          </a:xfrm>
          <a:noFill/>
        </p:grpSpPr>
        <p:sp>
          <p:nvSpPr>
            <p:cNvPr id="534" name="Freihandform: Form 533">
              <a:extLst>
                <a:ext uri="{FF2B5EF4-FFF2-40B4-BE49-F238E27FC236}">
                  <a16:creationId xmlns:a16="http://schemas.microsoft.com/office/drawing/2014/main" id="{7F41F033-71D8-3846-CF3D-96F72811439A}"/>
                </a:ext>
              </a:extLst>
            </p:cNvPr>
            <p:cNvSpPr/>
            <p:nvPr/>
          </p:nvSpPr>
          <p:spPr>
            <a:xfrm>
              <a:off x="2128628" y="1174889"/>
              <a:ext cx="4448552" cy="1099259"/>
            </a:xfrm>
            <a:custGeom>
              <a:avLst/>
              <a:gdLst>
                <a:gd name="connsiteX0" fmla="*/ 4448552 w 4448552"/>
                <a:gd name="connsiteY0" fmla="*/ 1099260 h 1099259"/>
                <a:gd name="connsiteX1" fmla="*/ 2624146 w 4448552"/>
                <a:gd name="connsiteY1" fmla="*/ 1099260 h 1099259"/>
                <a:gd name="connsiteX2" fmla="*/ 2624146 w 4448552"/>
                <a:gd name="connsiteY2" fmla="*/ 991514 h 1099259"/>
                <a:gd name="connsiteX3" fmla="*/ 1087529 w 4448552"/>
                <a:gd name="connsiteY3" fmla="*/ 991514 h 1099259"/>
                <a:gd name="connsiteX4" fmla="*/ 1087529 w 4448552"/>
                <a:gd name="connsiteY4" fmla="*/ 875735 h 1099259"/>
                <a:gd name="connsiteX5" fmla="*/ 794002 w 4448552"/>
                <a:gd name="connsiteY5" fmla="*/ 875735 h 1099259"/>
                <a:gd name="connsiteX6" fmla="*/ 794002 w 4448552"/>
                <a:gd name="connsiteY6" fmla="*/ 766077 h 1099259"/>
                <a:gd name="connsiteX7" fmla="*/ 702322 w 4448552"/>
                <a:gd name="connsiteY7" fmla="*/ 766077 h 1099259"/>
                <a:gd name="connsiteX8" fmla="*/ 702322 w 4448552"/>
                <a:gd name="connsiteY8" fmla="*/ 652721 h 1099259"/>
                <a:gd name="connsiteX9" fmla="*/ 663815 w 4448552"/>
                <a:gd name="connsiteY9" fmla="*/ 652721 h 1099259"/>
                <a:gd name="connsiteX10" fmla="*/ 663815 w 4448552"/>
                <a:gd name="connsiteY10" fmla="*/ 539238 h 1099259"/>
                <a:gd name="connsiteX11" fmla="*/ 606308 w 4448552"/>
                <a:gd name="connsiteY11" fmla="*/ 539238 h 1099259"/>
                <a:gd name="connsiteX12" fmla="*/ 606308 w 4448552"/>
                <a:gd name="connsiteY12" fmla="*/ 428559 h 1099259"/>
                <a:gd name="connsiteX13" fmla="*/ 477141 w 4448552"/>
                <a:gd name="connsiteY13" fmla="*/ 428559 h 1099259"/>
                <a:gd name="connsiteX14" fmla="*/ 477141 w 4448552"/>
                <a:gd name="connsiteY14" fmla="*/ 315204 h 1099259"/>
                <a:gd name="connsiteX15" fmla="*/ 372710 w 4448552"/>
                <a:gd name="connsiteY15" fmla="*/ 315204 h 1099259"/>
                <a:gd name="connsiteX16" fmla="*/ 372710 w 4448552"/>
                <a:gd name="connsiteY16" fmla="*/ 211921 h 1099259"/>
                <a:gd name="connsiteX17" fmla="*/ 310868 w 4448552"/>
                <a:gd name="connsiteY17" fmla="*/ 211921 h 1099259"/>
                <a:gd name="connsiteX18" fmla="*/ 310868 w 4448552"/>
                <a:gd name="connsiteY18" fmla="*/ 103665 h 1099259"/>
                <a:gd name="connsiteX19" fmla="*/ 140771 w 4448552"/>
                <a:gd name="connsiteY19" fmla="*/ 103665 h 1099259"/>
                <a:gd name="connsiteX20" fmla="*/ 140771 w 4448552"/>
                <a:gd name="connsiteY20" fmla="*/ 0 h 1099259"/>
                <a:gd name="connsiteX21" fmla="*/ 0 w 4448552"/>
                <a:gd name="connsiteY21" fmla="*/ 0 h 109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448552" h="1099259">
                  <a:moveTo>
                    <a:pt x="4448552" y="1099260"/>
                  </a:moveTo>
                  <a:lnTo>
                    <a:pt x="2624146" y="1099260"/>
                  </a:lnTo>
                  <a:lnTo>
                    <a:pt x="2624146" y="991514"/>
                  </a:lnTo>
                  <a:lnTo>
                    <a:pt x="1087529" y="991514"/>
                  </a:lnTo>
                  <a:lnTo>
                    <a:pt x="1087529" y="875735"/>
                  </a:lnTo>
                  <a:lnTo>
                    <a:pt x="794002" y="875735"/>
                  </a:lnTo>
                  <a:lnTo>
                    <a:pt x="794002" y="766077"/>
                  </a:lnTo>
                  <a:lnTo>
                    <a:pt x="702322" y="766077"/>
                  </a:lnTo>
                  <a:lnTo>
                    <a:pt x="702322" y="652721"/>
                  </a:lnTo>
                  <a:lnTo>
                    <a:pt x="663815" y="652721"/>
                  </a:lnTo>
                  <a:lnTo>
                    <a:pt x="663815" y="539238"/>
                  </a:lnTo>
                  <a:lnTo>
                    <a:pt x="606308" y="539238"/>
                  </a:lnTo>
                  <a:lnTo>
                    <a:pt x="606308" y="428559"/>
                  </a:lnTo>
                  <a:lnTo>
                    <a:pt x="477141" y="428559"/>
                  </a:lnTo>
                  <a:lnTo>
                    <a:pt x="477141" y="315204"/>
                  </a:lnTo>
                  <a:lnTo>
                    <a:pt x="372710" y="315204"/>
                  </a:lnTo>
                  <a:lnTo>
                    <a:pt x="372710" y="211921"/>
                  </a:lnTo>
                  <a:lnTo>
                    <a:pt x="310868" y="211921"/>
                  </a:lnTo>
                  <a:lnTo>
                    <a:pt x="310868" y="103665"/>
                  </a:lnTo>
                  <a:lnTo>
                    <a:pt x="140771" y="103665"/>
                  </a:lnTo>
                  <a:lnTo>
                    <a:pt x="140771" y="0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35" name="Grafik 89">
              <a:extLst>
                <a:ext uri="{FF2B5EF4-FFF2-40B4-BE49-F238E27FC236}">
                  <a16:creationId xmlns:a16="http://schemas.microsoft.com/office/drawing/2014/main" id="{D1275849-C308-1E6C-6C3E-2D4CD48E5B25}"/>
                </a:ext>
              </a:extLst>
            </p:cNvPr>
            <p:cNvGrpSpPr/>
            <p:nvPr/>
          </p:nvGrpSpPr>
          <p:grpSpPr>
            <a:xfrm>
              <a:off x="6457576" y="2252472"/>
              <a:ext cx="47561" cy="44118"/>
              <a:chOff x="6457576" y="2252472"/>
              <a:chExt cx="47561" cy="44118"/>
            </a:xfrm>
          </p:grpSpPr>
          <p:sp>
            <p:nvSpPr>
              <p:cNvPr id="560" name="Freihandform: Form 559">
                <a:extLst>
                  <a:ext uri="{FF2B5EF4-FFF2-40B4-BE49-F238E27FC236}">
                    <a16:creationId xmlns:a16="http://schemas.microsoft.com/office/drawing/2014/main" id="{C87C6D31-8B8F-5316-77E3-AA939F7A6C9D}"/>
                  </a:ext>
                </a:extLst>
              </p:cNvPr>
              <p:cNvSpPr/>
              <p:nvPr/>
            </p:nvSpPr>
            <p:spPr>
              <a:xfrm>
                <a:off x="6481420" y="2252472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1" name="Freihandform: Form 560">
                <a:extLst>
                  <a:ext uri="{FF2B5EF4-FFF2-40B4-BE49-F238E27FC236}">
                    <a16:creationId xmlns:a16="http://schemas.microsoft.com/office/drawing/2014/main" id="{22A957CF-437F-0E14-9B35-AC6FD639AA7E}"/>
                  </a:ext>
                </a:extLst>
              </p:cNvPr>
              <p:cNvSpPr/>
              <p:nvPr/>
            </p:nvSpPr>
            <p:spPr>
              <a:xfrm>
                <a:off x="6457576" y="227453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36" name="Grafik 89">
              <a:extLst>
                <a:ext uri="{FF2B5EF4-FFF2-40B4-BE49-F238E27FC236}">
                  <a16:creationId xmlns:a16="http://schemas.microsoft.com/office/drawing/2014/main" id="{291680EB-DD90-7048-2600-9067998F9CBC}"/>
                </a:ext>
              </a:extLst>
            </p:cNvPr>
            <p:cNvGrpSpPr/>
            <p:nvPr/>
          </p:nvGrpSpPr>
          <p:grpSpPr>
            <a:xfrm>
              <a:off x="6212630" y="2252472"/>
              <a:ext cx="47561" cy="44118"/>
              <a:chOff x="6212630" y="2252472"/>
              <a:chExt cx="47561" cy="44118"/>
            </a:xfrm>
          </p:grpSpPr>
          <p:sp>
            <p:nvSpPr>
              <p:cNvPr id="558" name="Freihandform: Form 557">
                <a:extLst>
                  <a:ext uri="{FF2B5EF4-FFF2-40B4-BE49-F238E27FC236}">
                    <a16:creationId xmlns:a16="http://schemas.microsoft.com/office/drawing/2014/main" id="{8EE95BFF-BBCA-0030-E373-A736441EC3F2}"/>
                  </a:ext>
                </a:extLst>
              </p:cNvPr>
              <p:cNvSpPr/>
              <p:nvPr/>
            </p:nvSpPr>
            <p:spPr>
              <a:xfrm>
                <a:off x="6236347" y="2252472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9" name="Freihandform: Form 558">
                <a:extLst>
                  <a:ext uri="{FF2B5EF4-FFF2-40B4-BE49-F238E27FC236}">
                    <a16:creationId xmlns:a16="http://schemas.microsoft.com/office/drawing/2014/main" id="{131D9B6C-E0C0-A8E1-93DF-50FA399ED103}"/>
                  </a:ext>
                </a:extLst>
              </p:cNvPr>
              <p:cNvSpPr/>
              <p:nvPr/>
            </p:nvSpPr>
            <p:spPr>
              <a:xfrm>
                <a:off x="6212630" y="227453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37" name="Grafik 89">
              <a:extLst>
                <a:ext uri="{FF2B5EF4-FFF2-40B4-BE49-F238E27FC236}">
                  <a16:creationId xmlns:a16="http://schemas.microsoft.com/office/drawing/2014/main" id="{97520377-F187-079B-3A7F-30E682BB6B79}"/>
                </a:ext>
              </a:extLst>
            </p:cNvPr>
            <p:cNvGrpSpPr/>
            <p:nvPr/>
          </p:nvGrpSpPr>
          <p:grpSpPr>
            <a:xfrm>
              <a:off x="6107179" y="2252472"/>
              <a:ext cx="47561" cy="44118"/>
              <a:chOff x="6107179" y="2252472"/>
              <a:chExt cx="47561" cy="44118"/>
            </a:xfrm>
          </p:grpSpPr>
          <p:sp>
            <p:nvSpPr>
              <p:cNvPr id="556" name="Freihandform: Form 555">
                <a:extLst>
                  <a:ext uri="{FF2B5EF4-FFF2-40B4-BE49-F238E27FC236}">
                    <a16:creationId xmlns:a16="http://schemas.microsoft.com/office/drawing/2014/main" id="{A4609480-51DC-10A5-04D3-FAFFB87E2FF3}"/>
                  </a:ext>
                </a:extLst>
              </p:cNvPr>
              <p:cNvSpPr/>
              <p:nvPr/>
            </p:nvSpPr>
            <p:spPr>
              <a:xfrm>
                <a:off x="6131024" y="2252472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7" name="Freihandform: Form 556">
                <a:extLst>
                  <a:ext uri="{FF2B5EF4-FFF2-40B4-BE49-F238E27FC236}">
                    <a16:creationId xmlns:a16="http://schemas.microsoft.com/office/drawing/2014/main" id="{1A003C8E-DB28-F758-B405-A07EFD48BBBE}"/>
                  </a:ext>
                </a:extLst>
              </p:cNvPr>
              <p:cNvSpPr/>
              <p:nvPr/>
            </p:nvSpPr>
            <p:spPr>
              <a:xfrm>
                <a:off x="6107179" y="227453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38" name="Grafik 89">
              <a:extLst>
                <a:ext uri="{FF2B5EF4-FFF2-40B4-BE49-F238E27FC236}">
                  <a16:creationId xmlns:a16="http://schemas.microsoft.com/office/drawing/2014/main" id="{FD36389E-5781-5C0C-21AF-568ED0BF314F}"/>
                </a:ext>
              </a:extLst>
            </p:cNvPr>
            <p:cNvGrpSpPr/>
            <p:nvPr/>
          </p:nvGrpSpPr>
          <p:grpSpPr>
            <a:xfrm>
              <a:off x="5829719" y="2252472"/>
              <a:ext cx="47433" cy="44118"/>
              <a:chOff x="5829719" y="2252472"/>
              <a:chExt cx="47433" cy="44118"/>
            </a:xfrm>
          </p:grpSpPr>
          <p:sp>
            <p:nvSpPr>
              <p:cNvPr id="554" name="Freihandform: Form 553">
                <a:extLst>
                  <a:ext uri="{FF2B5EF4-FFF2-40B4-BE49-F238E27FC236}">
                    <a16:creationId xmlns:a16="http://schemas.microsoft.com/office/drawing/2014/main" id="{C9DC4073-3CCE-5F19-ACB1-5DCB00910ED8}"/>
                  </a:ext>
                </a:extLst>
              </p:cNvPr>
              <p:cNvSpPr/>
              <p:nvPr/>
            </p:nvSpPr>
            <p:spPr>
              <a:xfrm>
                <a:off x="5853436" y="2252472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5" name="Freihandform: Form 554">
                <a:extLst>
                  <a:ext uri="{FF2B5EF4-FFF2-40B4-BE49-F238E27FC236}">
                    <a16:creationId xmlns:a16="http://schemas.microsoft.com/office/drawing/2014/main" id="{96044089-BACC-740D-CFA2-E6B2AABC23AE}"/>
                  </a:ext>
                </a:extLst>
              </p:cNvPr>
              <p:cNvSpPr/>
              <p:nvPr/>
            </p:nvSpPr>
            <p:spPr>
              <a:xfrm>
                <a:off x="5829719" y="2274531"/>
                <a:ext cx="47433" cy="12750"/>
              </a:xfrm>
              <a:custGeom>
                <a:avLst/>
                <a:gdLst>
                  <a:gd name="connsiteX0" fmla="*/ 47434 w 47433"/>
                  <a:gd name="connsiteY0" fmla="*/ 0 h 12750"/>
                  <a:gd name="connsiteX1" fmla="*/ 0 w 47433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433" h="12750">
                    <a:moveTo>
                      <a:pt x="4743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39" name="Grafik 89">
              <a:extLst>
                <a:ext uri="{FF2B5EF4-FFF2-40B4-BE49-F238E27FC236}">
                  <a16:creationId xmlns:a16="http://schemas.microsoft.com/office/drawing/2014/main" id="{5C5B964B-CCEE-32DC-8E21-CF063733915E}"/>
                </a:ext>
              </a:extLst>
            </p:cNvPr>
            <p:cNvGrpSpPr/>
            <p:nvPr/>
          </p:nvGrpSpPr>
          <p:grpSpPr>
            <a:xfrm>
              <a:off x="5745563" y="2252472"/>
              <a:ext cx="47561" cy="44118"/>
              <a:chOff x="5745563" y="2252472"/>
              <a:chExt cx="47561" cy="44118"/>
            </a:xfrm>
          </p:grpSpPr>
          <p:sp>
            <p:nvSpPr>
              <p:cNvPr id="552" name="Freihandform: Form 551">
                <a:extLst>
                  <a:ext uri="{FF2B5EF4-FFF2-40B4-BE49-F238E27FC236}">
                    <a16:creationId xmlns:a16="http://schemas.microsoft.com/office/drawing/2014/main" id="{05D2F794-DD29-B979-75AC-B7D8D5ED2783}"/>
                  </a:ext>
                </a:extLst>
              </p:cNvPr>
              <p:cNvSpPr/>
              <p:nvPr/>
            </p:nvSpPr>
            <p:spPr>
              <a:xfrm>
                <a:off x="5769407" y="2252472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3" name="Freihandform: Form 552">
                <a:extLst>
                  <a:ext uri="{FF2B5EF4-FFF2-40B4-BE49-F238E27FC236}">
                    <a16:creationId xmlns:a16="http://schemas.microsoft.com/office/drawing/2014/main" id="{F302BC33-BAB2-2282-3029-679F036ADE1F}"/>
                  </a:ext>
                </a:extLst>
              </p:cNvPr>
              <p:cNvSpPr/>
              <p:nvPr/>
            </p:nvSpPr>
            <p:spPr>
              <a:xfrm>
                <a:off x="5745563" y="227453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0" name="Grafik 89">
              <a:extLst>
                <a:ext uri="{FF2B5EF4-FFF2-40B4-BE49-F238E27FC236}">
                  <a16:creationId xmlns:a16="http://schemas.microsoft.com/office/drawing/2014/main" id="{A560A87D-E8BA-AB16-03CC-25A2AE49F36B}"/>
                </a:ext>
              </a:extLst>
            </p:cNvPr>
            <p:cNvGrpSpPr/>
            <p:nvPr/>
          </p:nvGrpSpPr>
          <p:grpSpPr>
            <a:xfrm>
              <a:off x="5635394" y="2252472"/>
              <a:ext cx="47561" cy="44118"/>
              <a:chOff x="5635394" y="2252472"/>
              <a:chExt cx="47561" cy="44118"/>
            </a:xfrm>
          </p:grpSpPr>
          <p:sp>
            <p:nvSpPr>
              <p:cNvPr id="550" name="Freihandform: Form 549">
                <a:extLst>
                  <a:ext uri="{FF2B5EF4-FFF2-40B4-BE49-F238E27FC236}">
                    <a16:creationId xmlns:a16="http://schemas.microsoft.com/office/drawing/2014/main" id="{86D6425C-294B-D114-217C-26D5498BD9D5}"/>
                  </a:ext>
                </a:extLst>
              </p:cNvPr>
              <p:cNvSpPr/>
              <p:nvPr/>
            </p:nvSpPr>
            <p:spPr>
              <a:xfrm>
                <a:off x="5659239" y="2252472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Freihandform: Form 550">
                <a:extLst>
                  <a:ext uri="{FF2B5EF4-FFF2-40B4-BE49-F238E27FC236}">
                    <a16:creationId xmlns:a16="http://schemas.microsoft.com/office/drawing/2014/main" id="{AA178897-84FE-3ACC-307B-49F792F835C5}"/>
                  </a:ext>
                </a:extLst>
              </p:cNvPr>
              <p:cNvSpPr/>
              <p:nvPr/>
            </p:nvSpPr>
            <p:spPr>
              <a:xfrm>
                <a:off x="5635394" y="227453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1" name="Grafik 89">
              <a:extLst>
                <a:ext uri="{FF2B5EF4-FFF2-40B4-BE49-F238E27FC236}">
                  <a16:creationId xmlns:a16="http://schemas.microsoft.com/office/drawing/2014/main" id="{BAAD3748-EE1C-A15E-4BCD-D930766377AD}"/>
                </a:ext>
              </a:extLst>
            </p:cNvPr>
            <p:cNvGrpSpPr/>
            <p:nvPr/>
          </p:nvGrpSpPr>
          <p:grpSpPr>
            <a:xfrm>
              <a:off x="5603899" y="2252472"/>
              <a:ext cx="47561" cy="44118"/>
              <a:chOff x="5603899" y="2252472"/>
              <a:chExt cx="47561" cy="44118"/>
            </a:xfrm>
          </p:grpSpPr>
          <p:sp>
            <p:nvSpPr>
              <p:cNvPr id="548" name="Freihandform: Form 547">
                <a:extLst>
                  <a:ext uri="{FF2B5EF4-FFF2-40B4-BE49-F238E27FC236}">
                    <a16:creationId xmlns:a16="http://schemas.microsoft.com/office/drawing/2014/main" id="{E69BDDFC-08F9-92A7-1C91-E58F5E8FB42E}"/>
                  </a:ext>
                </a:extLst>
              </p:cNvPr>
              <p:cNvSpPr/>
              <p:nvPr/>
            </p:nvSpPr>
            <p:spPr>
              <a:xfrm>
                <a:off x="5627744" y="2252472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Freihandform: Form 548">
                <a:extLst>
                  <a:ext uri="{FF2B5EF4-FFF2-40B4-BE49-F238E27FC236}">
                    <a16:creationId xmlns:a16="http://schemas.microsoft.com/office/drawing/2014/main" id="{AA59F29A-6A0A-AF55-4F00-B42533949570}"/>
                  </a:ext>
                </a:extLst>
              </p:cNvPr>
              <p:cNvSpPr/>
              <p:nvPr/>
            </p:nvSpPr>
            <p:spPr>
              <a:xfrm>
                <a:off x="5603899" y="227453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2" name="Grafik 89">
              <a:extLst>
                <a:ext uri="{FF2B5EF4-FFF2-40B4-BE49-F238E27FC236}">
                  <a16:creationId xmlns:a16="http://schemas.microsoft.com/office/drawing/2014/main" id="{C0789277-14AF-3B5C-0715-BB060107BFD2}"/>
                </a:ext>
              </a:extLst>
            </p:cNvPr>
            <p:cNvGrpSpPr/>
            <p:nvPr/>
          </p:nvGrpSpPr>
          <p:grpSpPr>
            <a:xfrm>
              <a:off x="4877095" y="2252472"/>
              <a:ext cx="47561" cy="44118"/>
              <a:chOff x="4877095" y="2252472"/>
              <a:chExt cx="47561" cy="44118"/>
            </a:xfrm>
          </p:grpSpPr>
          <p:sp>
            <p:nvSpPr>
              <p:cNvPr id="546" name="Freihandform: Form 545">
                <a:extLst>
                  <a:ext uri="{FF2B5EF4-FFF2-40B4-BE49-F238E27FC236}">
                    <a16:creationId xmlns:a16="http://schemas.microsoft.com/office/drawing/2014/main" id="{58BBD701-661F-3FCC-A4F5-BD753A69599F}"/>
                  </a:ext>
                </a:extLst>
              </p:cNvPr>
              <p:cNvSpPr/>
              <p:nvPr/>
            </p:nvSpPr>
            <p:spPr>
              <a:xfrm>
                <a:off x="4900939" y="2252472"/>
                <a:ext cx="12750" cy="44118"/>
              </a:xfrm>
              <a:custGeom>
                <a:avLst/>
                <a:gdLst>
                  <a:gd name="connsiteX0" fmla="*/ 0 w 12750"/>
                  <a:gd name="connsiteY0" fmla="*/ 0 h 44118"/>
                  <a:gd name="connsiteX1" fmla="*/ 0 w 12750"/>
                  <a:gd name="connsiteY1" fmla="*/ 44118 h 4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118">
                    <a:moveTo>
                      <a:pt x="0" y="0"/>
                    </a:moveTo>
                    <a:lnTo>
                      <a:pt x="0" y="44118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7" name="Freihandform: Form 546">
                <a:extLst>
                  <a:ext uri="{FF2B5EF4-FFF2-40B4-BE49-F238E27FC236}">
                    <a16:creationId xmlns:a16="http://schemas.microsoft.com/office/drawing/2014/main" id="{423486C3-D81B-7E9C-6F1A-CA898AFF0926}"/>
                  </a:ext>
                </a:extLst>
              </p:cNvPr>
              <p:cNvSpPr/>
              <p:nvPr/>
            </p:nvSpPr>
            <p:spPr>
              <a:xfrm>
                <a:off x="4877095" y="2274531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3" name="Grafik 89">
              <a:extLst>
                <a:ext uri="{FF2B5EF4-FFF2-40B4-BE49-F238E27FC236}">
                  <a16:creationId xmlns:a16="http://schemas.microsoft.com/office/drawing/2014/main" id="{E217CF80-A498-6342-DFBE-EEAE7BDB3D0D}"/>
                </a:ext>
              </a:extLst>
            </p:cNvPr>
            <p:cNvGrpSpPr/>
            <p:nvPr/>
          </p:nvGrpSpPr>
          <p:grpSpPr>
            <a:xfrm>
              <a:off x="2543671" y="1467013"/>
              <a:ext cx="47561" cy="44245"/>
              <a:chOff x="2543671" y="1467013"/>
              <a:chExt cx="47561" cy="44245"/>
            </a:xfrm>
          </p:grpSpPr>
          <p:sp>
            <p:nvSpPr>
              <p:cNvPr id="544" name="Freihandform: Form 543">
                <a:extLst>
                  <a:ext uri="{FF2B5EF4-FFF2-40B4-BE49-F238E27FC236}">
                    <a16:creationId xmlns:a16="http://schemas.microsoft.com/office/drawing/2014/main" id="{422752E0-C479-47C9-AABB-44B2B1259C1C}"/>
                  </a:ext>
                </a:extLst>
              </p:cNvPr>
              <p:cNvSpPr/>
              <p:nvPr/>
            </p:nvSpPr>
            <p:spPr>
              <a:xfrm>
                <a:off x="2567515" y="1467013"/>
                <a:ext cx="12750" cy="44245"/>
              </a:xfrm>
              <a:custGeom>
                <a:avLst/>
                <a:gdLst>
                  <a:gd name="connsiteX0" fmla="*/ 0 w 12750"/>
                  <a:gd name="connsiteY0" fmla="*/ 0 h 44245"/>
                  <a:gd name="connsiteX1" fmla="*/ 0 w 12750"/>
                  <a:gd name="connsiteY1" fmla="*/ 44246 h 4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50" h="44245">
                    <a:moveTo>
                      <a:pt x="0" y="0"/>
                    </a:moveTo>
                    <a:lnTo>
                      <a:pt x="0" y="44246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5" name="Freihandform: Form 544">
                <a:extLst>
                  <a:ext uri="{FF2B5EF4-FFF2-40B4-BE49-F238E27FC236}">
                    <a16:creationId xmlns:a16="http://schemas.microsoft.com/office/drawing/2014/main" id="{197B0ACB-4E0A-8798-350F-191C20948ADA}"/>
                  </a:ext>
                </a:extLst>
              </p:cNvPr>
              <p:cNvSpPr/>
              <p:nvPr/>
            </p:nvSpPr>
            <p:spPr>
              <a:xfrm>
                <a:off x="2543671" y="1489073"/>
                <a:ext cx="47561" cy="12750"/>
              </a:xfrm>
              <a:custGeom>
                <a:avLst/>
                <a:gdLst>
                  <a:gd name="connsiteX0" fmla="*/ 47561 w 47561"/>
                  <a:gd name="connsiteY0" fmla="*/ 0 h 12750"/>
                  <a:gd name="connsiteX1" fmla="*/ 0 w 47561"/>
                  <a:gd name="connsiteY1" fmla="*/ 0 h 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61" h="12750">
                    <a:moveTo>
                      <a:pt x="475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9" name="Textfeld 13">
            <a:extLst>
              <a:ext uri="{FF2B5EF4-FFF2-40B4-BE49-F238E27FC236}">
                <a16:creationId xmlns:a16="http://schemas.microsoft.com/office/drawing/2014/main" id="{98A1F90E-63F1-2F67-BAB9-7710A94B9AF8}"/>
              </a:ext>
            </a:extLst>
          </p:cNvPr>
          <p:cNvSpPr txBox="1"/>
          <p:nvPr/>
        </p:nvSpPr>
        <p:spPr>
          <a:xfrm>
            <a:off x="8532883" y="6469063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167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02EC42D-443B-B76A-6B49-9A8C78FDA2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6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2EC42D-443B-B76A-6B49-9A8C78FDA2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BEC2FF5-0598-D1D8-7CA9-C41DA189DC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9982822"/>
              </p:ext>
            </p:extLst>
          </p:nvPr>
        </p:nvGraphicFramePr>
        <p:xfrm>
          <a:off x="986804" y="1376365"/>
          <a:ext cx="6467766" cy="3732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0" name="Grafik 19">
            <a:extLst>
              <a:ext uri="{FF2B5EF4-FFF2-40B4-BE49-F238E27FC236}">
                <a16:creationId xmlns:a16="http://schemas.microsoft.com/office/drawing/2014/main" id="{6B06599B-BF75-6F15-A336-548B2A6803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8468" y="1570844"/>
            <a:ext cx="4897668" cy="293480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31D3423-6872-A296-5E69-8B7162019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0543970" cy="1065278"/>
          </a:xfrm>
        </p:spPr>
        <p:txBody>
          <a:bodyPr vert="horz"/>
          <a:lstStyle/>
          <a:p>
            <a:pPr algn="l"/>
            <a:r>
              <a:rPr lang="en-GB" dirty="0"/>
              <a:t>MSS: </a:t>
            </a:r>
            <a:r>
              <a:rPr lang="en-GB" dirty="0" err="1"/>
              <a:t>Kumulatives</a:t>
            </a:r>
            <a:r>
              <a:rPr lang="en-GB" dirty="0"/>
              <a:t> </a:t>
            </a:r>
            <a:r>
              <a:rPr lang="en-GB" dirty="0" err="1"/>
              <a:t>Risiko</a:t>
            </a:r>
            <a:r>
              <a:rPr lang="en-GB" dirty="0"/>
              <a:t> für </a:t>
            </a:r>
            <a:r>
              <a:rPr lang="en-GB" dirty="0" err="1"/>
              <a:t>melanomspezifischen</a:t>
            </a:r>
            <a:r>
              <a:rPr lang="en-GB" dirty="0"/>
              <a:t> Tod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066DBD-A5B6-0486-BB65-1D6D66ACF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5</a:t>
            </a:fld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AD3A90B-7D00-62C2-FD95-4BD9703429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7" y="6051550"/>
            <a:ext cx="5140643" cy="587375"/>
          </a:xfrm>
        </p:spPr>
        <p:txBody>
          <a:bodyPr/>
          <a:lstStyle/>
          <a:p>
            <a:r>
              <a:rPr lang="de-DE" b="1" dirty="0"/>
              <a:t>a </a:t>
            </a:r>
            <a:r>
              <a:rPr lang="de-DE" dirty="0"/>
              <a:t>Das Fine-Gray-Modell berechnet die Wahrscheinlichkeit, dass ein spezifisches Ereignis bis zu einem bestimmten Zeitpunkt eintritt, unter Berücksichtigung von Konkurrenzrisiken.</a:t>
            </a:r>
          </a:p>
          <a:p>
            <a:r>
              <a:rPr lang="de-DE" b="1" dirty="0"/>
              <a:t>MSS </a:t>
            </a:r>
            <a:r>
              <a:rPr lang="de-DE" dirty="0" err="1"/>
              <a:t>Melanomspezifisches</a:t>
            </a:r>
            <a:r>
              <a:rPr lang="de-DE" dirty="0"/>
              <a:t> Überleben. </a:t>
            </a:r>
            <a:r>
              <a:rPr lang="de-DE" b="1" dirty="0"/>
              <a:t>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/>
              <a:t>TT</a:t>
            </a:r>
            <a:r>
              <a:rPr lang="de-DE" dirty="0"/>
              <a:t> Zielgerichtete Therapie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F804322-DA56-CE1E-9702-CFD56EC425C6}"/>
              </a:ext>
            </a:extLst>
          </p:cNvPr>
          <p:cNvSpPr txBox="1"/>
          <p:nvPr/>
        </p:nvSpPr>
        <p:spPr>
          <a:xfrm>
            <a:off x="1719460" y="1019586"/>
            <a:ext cx="54128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GB" sz="1600" dirty="0" err="1">
                <a:solidFill>
                  <a:schemeClr val="accent1"/>
                </a:solidFill>
              </a:rPr>
              <a:t>Kumulative</a:t>
            </a:r>
            <a:r>
              <a:rPr lang="en-GB" sz="1600" dirty="0">
                <a:solidFill>
                  <a:schemeClr val="accent1"/>
                </a:solidFill>
              </a:rPr>
              <a:t> MSS-</a:t>
            </a:r>
            <a:r>
              <a:rPr lang="en-GB" sz="1600" dirty="0" err="1">
                <a:solidFill>
                  <a:schemeClr val="accent1"/>
                </a:solidFill>
              </a:rPr>
              <a:t>Risikoanalyse</a:t>
            </a:r>
            <a:r>
              <a:rPr lang="en-GB" sz="1600" dirty="0">
                <a:solidFill>
                  <a:schemeClr val="accent1"/>
                </a:solidFill>
              </a:rPr>
              <a:t> </a:t>
            </a:r>
            <a:r>
              <a:rPr lang="en-GB" sz="1600" dirty="0" err="1">
                <a:solidFill>
                  <a:schemeClr val="accent1"/>
                </a:solidFill>
              </a:rPr>
              <a:t>mittels</a:t>
            </a:r>
            <a:r>
              <a:rPr lang="en-GB" sz="1600" dirty="0">
                <a:solidFill>
                  <a:schemeClr val="accent1"/>
                </a:solidFill>
              </a:rPr>
              <a:t> Fine-Gray-Modell</a:t>
            </a:r>
            <a:r>
              <a:rPr lang="en-GB" sz="1600" baseline="30000" dirty="0">
                <a:solidFill>
                  <a:schemeClr val="accent1"/>
                </a:solidFill>
              </a:rPr>
              <a:t>a</a:t>
            </a:r>
            <a:endParaRPr lang="en-GB" sz="1600" dirty="0">
              <a:solidFill>
                <a:schemeClr val="accent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373192E-5E05-DEBD-FAF5-42AE0987D687}"/>
              </a:ext>
            </a:extLst>
          </p:cNvPr>
          <p:cNvSpPr txBox="1"/>
          <p:nvPr/>
        </p:nvSpPr>
        <p:spPr>
          <a:xfrm>
            <a:off x="604837" y="5228236"/>
            <a:ext cx="9160955" cy="71508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742950" lvl="1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1"/>
                </a:solidFill>
              </a:rPr>
              <a:t>Das </a:t>
            </a:r>
            <a:r>
              <a:rPr lang="en-GB" dirty="0" err="1">
                <a:solidFill>
                  <a:schemeClr val="accent1"/>
                </a:solidFill>
              </a:rPr>
              <a:t>kumulative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Risiko</a:t>
            </a:r>
            <a:r>
              <a:rPr lang="en-GB" dirty="0">
                <a:solidFill>
                  <a:schemeClr val="accent1"/>
                </a:solidFill>
              </a:rPr>
              <a:t>, am </a:t>
            </a:r>
            <a:r>
              <a:rPr lang="en-GB" dirty="0" err="1">
                <a:solidFill>
                  <a:schemeClr val="accent1"/>
                </a:solidFill>
              </a:rPr>
              <a:t>Melanom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zu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versterben</a:t>
            </a:r>
            <a:r>
              <a:rPr lang="en-GB" dirty="0">
                <a:solidFill>
                  <a:schemeClr val="accent1"/>
                </a:solidFill>
              </a:rPr>
              <a:t>, war </a:t>
            </a:r>
            <a:r>
              <a:rPr lang="en-GB" dirty="0" err="1">
                <a:solidFill>
                  <a:schemeClr val="accent1"/>
                </a:solidFill>
              </a:rPr>
              <a:t>unter</a:t>
            </a:r>
            <a:r>
              <a:rPr lang="en-GB" dirty="0">
                <a:solidFill>
                  <a:schemeClr val="accent1"/>
                </a:solidFill>
              </a:rPr>
              <a:t> Dabrafenib und Trametinib </a:t>
            </a:r>
            <a:r>
              <a:rPr lang="en-GB" dirty="0" err="1">
                <a:solidFill>
                  <a:schemeClr val="accent1"/>
                </a:solidFill>
              </a:rPr>
              <a:t>geringer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als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unter</a:t>
            </a:r>
            <a:r>
              <a:rPr lang="en-GB" dirty="0">
                <a:solidFill>
                  <a:schemeClr val="accent1"/>
                </a:solidFill>
              </a:rPr>
              <a:t> Anti-PD1-Therapie</a:t>
            </a:r>
          </a:p>
        </p:txBody>
      </p:sp>
      <p:pic>
        <p:nvPicPr>
          <p:cNvPr id="10" name="Grafik 9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47C761A8-A3FF-BB13-667D-B96F286CAE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4968146"/>
            <a:ext cx="720000" cy="720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67683A89-59C4-312B-ADDD-A5FADFBED43D}"/>
              </a:ext>
            </a:extLst>
          </p:cNvPr>
          <p:cNvSpPr txBox="1"/>
          <p:nvPr/>
        </p:nvSpPr>
        <p:spPr>
          <a:xfrm>
            <a:off x="7582283" y="1636454"/>
            <a:ext cx="40715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1"/>
                </a:solidFill>
              </a:rPr>
              <a:t>In der Rohdatenanalyse des MSS zeigten Patient*innen mit TT eine höhere Überlebensrate als PD1-Patient*inn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666A612-9811-C6C6-97EE-C32620A5B118}"/>
              </a:ext>
            </a:extLst>
          </p:cNvPr>
          <p:cNvSpPr txBox="1"/>
          <p:nvPr/>
        </p:nvSpPr>
        <p:spPr>
          <a:xfrm>
            <a:off x="2228740" y="1739431"/>
            <a:ext cx="1146260" cy="276999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de-DE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ehandlung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2CCBA10A-64C3-312A-AB54-420CFA3DF321}"/>
              </a:ext>
            </a:extLst>
          </p:cNvPr>
          <p:cNvSpPr/>
          <p:nvPr/>
        </p:nvSpPr>
        <p:spPr>
          <a:xfrm>
            <a:off x="2228740" y="2696287"/>
            <a:ext cx="4905255" cy="1770366"/>
          </a:xfrm>
          <a:custGeom>
            <a:avLst/>
            <a:gdLst>
              <a:gd name="connsiteX0" fmla="*/ 0 w 4905255"/>
              <a:gd name="connsiteY0" fmla="*/ 1340864 h 1340863"/>
              <a:gd name="connsiteX1" fmla="*/ 2963 w 4905255"/>
              <a:gd name="connsiteY1" fmla="*/ 1340864 h 1340863"/>
              <a:gd name="connsiteX2" fmla="*/ 2963 w 4905255"/>
              <a:gd name="connsiteY2" fmla="*/ 1331540 h 1340863"/>
              <a:gd name="connsiteX3" fmla="*/ 77285 w 4905255"/>
              <a:gd name="connsiteY3" fmla="*/ 1331540 h 1340863"/>
              <a:gd name="connsiteX4" fmla="*/ 77285 w 4905255"/>
              <a:gd name="connsiteY4" fmla="*/ 1322217 h 1340863"/>
              <a:gd name="connsiteX5" fmla="*/ 80248 w 4905255"/>
              <a:gd name="connsiteY5" fmla="*/ 1322217 h 1340863"/>
              <a:gd name="connsiteX6" fmla="*/ 80248 w 4905255"/>
              <a:gd name="connsiteY6" fmla="*/ 1312894 h 1340863"/>
              <a:gd name="connsiteX7" fmla="*/ 151607 w 4905255"/>
              <a:gd name="connsiteY7" fmla="*/ 1312894 h 1340863"/>
              <a:gd name="connsiteX8" fmla="*/ 151607 w 4905255"/>
              <a:gd name="connsiteY8" fmla="*/ 1303471 h 1340863"/>
              <a:gd name="connsiteX9" fmla="*/ 196299 w 4905255"/>
              <a:gd name="connsiteY9" fmla="*/ 1303471 h 1340863"/>
              <a:gd name="connsiteX10" fmla="*/ 196299 w 4905255"/>
              <a:gd name="connsiteY10" fmla="*/ 1294049 h 1340863"/>
              <a:gd name="connsiteX11" fmla="*/ 217164 w 4905255"/>
              <a:gd name="connsiteY11" fmla="*/ 1294049 h 1340863"/>
              <a:gd name="connsiteX12" fmla="*/ 217164 w 4905255"/>
              <a:gd name="connsiteY12" fmla="*/ 1284726 h 1340863"/>
              <a:gd name="connsiteX13" fmla="*/ 226053 w 4905255"/>
              <a:gd name="connsiteY13" fmla="*/ 1284726 h 1340863"/>
              <a:gd name="connsiteX14" fmla="*/ 226053 w 4905255"/>
              <a:gd name="connsiteY14" fmla="*/ 1275303 h 1340863"/>
              <a:gd name="connsiteX15" fmla="*/ 291486 w 4905255"/>
              <a:gd name="connsiteY15" fmla="*/ 1275303 h 1340863"/>
              <a:gd name="connsiteX16" fmla="*/ 291486 w 4905255"/>
              <a:gd name="connsiteY16" fmla="*/ 1265980 h 1340863"/>
              <a:gd name="connsiteX17" fmla="*/ 345067 w 4905255"/>
              <a:gd name="connsiteY17" fmla="*/ 1265980 h 1340863"/>
              <a:gd name="connsiteX18" fmla="*/ 345067 w 4905255"/>
              <a:gd name="connsiteY18" fmla="*/ 1256458 h 1340863"/>
              <a:gd name="connsiteX19" fmla="*/ 365808 w 4905255"/>
              <a:gd name="connsiteY19" fmla="*/ 1256458 h 1340863"/>
              <a:gd name="connsiteX20" fmla="*/ 365808 w 4905255"/>
              <a:gd name="connsiteY20" fmla="*/ 1247036 h 1340863"/>
              <a:gd name="connsiteX21" fmla="*/ 422352 w 4905255"/>
              <a:gd name="connsiteY21" fmla="*/ 1247036 h 1340863"/>
              <a:gd name="connsiteX22" fmla="*/ 422352 w 4905255"/>
              <a:gd name="connsiteY22" fmla="*/ 1237613 h 1340863"/>
              <a:gd name="connsiteX23" fmla="*/ 437167 w 4905255"/>
              <a:gd name="connsiteY23" fmla="*/ 1237613 h 1340863"/>
              <a:gd name="connsiteX24" fmla="*/ 437167 w 4905255"/>
              <a:gd name="connsiteY24" fmla="*/ 1228092 h 1340863"/>
              <a:gd name="connsiteX25" fmla="*/ 496797 w 4905255"/>
              <a:gd name="connsiteY25" fmla="*/ 1228092 h 1340863"/>
              <a:gd name="connsiteX26" fmla="*/ 496797 w 4905255"/>
              <a:gd name="connsiteY26" fmla="*/ 1218669 h 1340863"/>
              <a:gd name="connsiteX27" fmla="*/ 511612 w 4905255"/>
              <a:gd name="connsiteY27" fmla="*/ 1218669 h 1340863"/>
              <a:gd name="connsiteX28" fmla="*/ 511612 w 4905255"/>
              <a:gd name="connsiteY28" fmla="*/ 1209148 h 1340863"/>
              <a:gd name="connsiteX29" fmla="*/ 517538 w 4905255"/>
              <a:gd name="connsiteY29" fmla="*/ 1209148 h 1340863"/>
              <a:gd name="connsiteX30" fmla="*/ 517538 w 4905255"/>
              <a:gd name="connsiteY30" fmla="*/ 1199626 h 1340863"/>
              <a:gd name="connsiteX31" fmla="*/ 520625 w 4905255"/>
              <a:gd name="connsiteY31" fmla="*/ 1199626 h 1340863"/>
              <a:gd name="connsiteX32" fmla="*/ 520625 w 4905255"/>
              <a:gd name="connsiteY32" fmla="*/ 1190104 h 1340863"/>
              <a:gd name="connsiteX33" fmla="*/ 618651 w 4905255"/>
              <a:gd name="connsiteY33" fmla="*/ 1190104 h 1340863"/>
              <a:gd name="connsiteX34" fmla="*/ 618651 w 4905255"/>
              <a:gd name="connsiteY34" fmla="*/ 1180583 h 1340863"/>
              <a:gd name="connsiteX35" fmla="*/ 624700 w 4905255"/>
              <a:gd name="connsiteY35" fmla="*/ 1180583 h 1340863"/>
              <a:gd name="connsiteX36" fmla="*/ 624700 w 4905255"/>
              <a:gd name="connsiteY36" fmla="*/ 1171061 h 1340863"/>
              <a:gd name="connsiteX37" fmla="*/ 687047 w 4905255"/>
              <a:gd name="connsiteY37" fmla="*/ 1171061 h 1340863"/>
              <a:gd name="connsiteX38" fmla="*/ 687047 w 4905255"/>
              <a:gd name="connsiteY38" fmla="*/ 1161440 h 1340863"/>
              <a:gd name="connsiteX39" fmla="*/ 734702 w 4905255"/>
              <a:gd name="connsiteY39" fmla="*/ 1161440 h 1340863"/>
              <a:gd name="connsiteX40" fmla="*/ 734702 w 4905255"/>
              <a:gd name="connsiteY40" fmla="*/ 1151919 h 1340863"/>
              <a:gd name="connsiteX41" fmla="*/ 782357 w 4905255"/>
              <a:gd name="connsiteY41" fmla="*/ 1151919 h 1340863"/>
              <a:gd name="connsiteX42" fmla="*/ 782357 w 4905255"/>
              <a:gd name="connsiteY42" fmla="*/ 1142298 h 1340863"/>
              <a:gd name="connsiteX43" fmla="*/ 797172 w 4905255"/>
              <a:gd name="connsiteY43" fmla="*/ 1142298 h 1340863"/>
              <a:gd name="connsiteX44" fmla="*/ 797172 w 4905255"/>
              <a:gd name="connsiteY44" fmla="*/ 1132677 h 1340863"/>
              <a:gd name="connsiteX45" fmla="*/ 841864 w 4905255"/>
              <a:gd name="connsiteY45" fmla="*/ 1132677 h 1340863"/>
              <a:gd name="connsiteX46" fmla="*/ 841864 w 4905255"/>
              <a:gd name="connsiteY46" fmla="*/ 1123056 h 1340863"/>
              <a:gd name="connsiteX47" fmla="*/ 856679 w 4905255"/>
              <a:gd name="connsiteY47" fmla="*/ 1123056 h 1340863"/>
              <a:gd name="connsiteX48" fmla="*/ 856679 w 4905255"/>
              <a:gd name="connsiteY48" fmla="*/ 1103716 h 1340863"/>
              <a:gd name="connsiteX49" fmla="*/ 865568 w 4905255"/>
              <a:gd name="connsiteY49" fmla="*/ 1103716 h 1340863"/>
              <a:gd name="connsiteX50" fmla="*/ 865568 w 4905255"/>
              <a:gd name="connsiteY50" fmla="*/ 1093896 h 1340863"/>
              <a:gd name="connsiteX51" fmla="*/ 898285 w 4905255"/>
              <a:gd name="connsiteY51" fmla="*/ 1093896 h 1340863"/>
              <a:gd name="connsiteX52" fmla="*/ 898285 w 4905255"/>
              <a:gd name="connsiteY52" fmla="*/ 1084176 h 1340863"/>
              <a:gd name="connsiteX53" fmla="*/ 984582 w 4905255"/>
              <a:gd name="connsiteY53" fmla="*/ 1084176 h 1340863"/>
              <a:gd name="connsiteX54" fmla="*/ 984582 w 4905255"/>
              <a:gd name="connsiteY54" fmla="*/ 1074456 h 1340863"/>
              <a:gd name="connsiteX55" fmla="*/ 1005447 w 4905255"/>
              <a:gd name="connsiteY55" fmla="*/ 1074456 h 1340863"/>
              <a:gd name="connsiteX56" fmla="*/ 1005447 w 4905255"/>
              <a:gd name="connsiteY56" fmla="*/ 1064538 h 1340863"/>
              <a:gd name="connsiteX57" fmla="*/ 1032237 w 4905255"/>
              <a:gd name="connsiteY57" fmla="*/ 1064538 h 1340863"/>
              <a:gd name="connsiteX58" fmla="*/ 1032237 w 4905255"/>
              <a:gd name="connsiteY58" fmla="*/ 1054620 h 1340863"/>
              <a:gd name="connsiteX59" fmla="*/ 1035200 w 4905255"/>
              <a:gd name="connsiteY59" fmla="*/ 1054620 h 1340863"/>
              <a:gd name="connsiteX60" fmla="*/ 1035200 w 4905255"/>
              <a:gd name="connsiteY60" fmla="*/ 1044602 h 1340863"/>
              <a:gd name="connsiteX61" fmla="*/ 1109522 w 4905255"/>
              <a:gd name="connsiteY61" fmla="*/ 1044602 h 1340863"/>
              <a:gd name="connsiteX62" fmla="*/ 1109522 w 4905255"/>
              <a:gd name="connsiteY62" fmla="*/ 1034585 h 1340863"/>
              <a:gd name="connsiteX63" fmla="*/ 1115448 w 4905255"/>
              <a:gd name="connsiteY63" fmla="*/ 1034585 h 1340863"/>
              <a:gd name="connsiteX64" fmla="*/ 1115448 w 4905255"/>
              <a:gd name="connsiteY64" fmla="*/ 1024666 h 1340863"/>
              <a:gd name="connsiteX65" fmla="*/ 1148165 w 4905255"/>
              <a:gd name="connsiteY65" fmla="*/ 1024666 h 1340863"/>
              <a:gd name="connsiteX66" fmla="*/ 1148165 w 4905255"/>
              <a:gd name="connsiteY66" fmla="*/ 1014649 h 1340863"/>
              <a:gd name="connsiteX67" fmla="*/ 1222610 w 4905255"/>
              <a:gd name="connsiteY67" fmla="*/ 1014649 h 1340863"/>
              <a:gd name="connsiteX68" fmla="*/ 1222610 w 4905255"/>
              <a:gd name="connsiteY68" fmla="*/ 1004433 h 1340863"/>
              <a:gd name="connsiteX69" fmla="*/ 1240388 w 4905255"/>
              <a:gd name="connsiteY69" fmla="*/ 1004433 h 1340863"/>
              <a:gd name="connsiteX70" fmla="*/ 1240388 w 4905255"/>
              <a:gd name="connsiteY70" fmla="*/ 994415 h 1340863"/>
              <a:gd name="connsiteX71" fmla="*/ 1264216 w 4905255"/>
              <a:gd name="connsiteY71" fmla="*/ 994415 h 1340863"/>
              <a:gd name="connsiteX72" fmla="*/ 1264216 w 4905255"/>
              <a:gd name="connsiteY72" fmla="*/ 984199 h 1340863"/>
              <a:gd name="connsiteX73" fmla="*/ 1332612 w 4905255"/>
              <a:gd name="connsiteY73" fmla="*/ 984199 h 1340863"/>
              <a:gd name="connsiteX74" fmla="*/ 1332612 w 4905255"/>
              <a:gd name="connsiteY74" fmla="*/ 973983 h 1340863"/>
              <a:gd name="connsiteX75" fmla="*/ 1362365 w 4905255"/>
              <a:gd name="connsiteY75" fmla="*/ 973983 h 1340863"/>
              <a:gd name="connsiteX76" fmla="*/ 1362365 w 4905255"/>
              <a:gd name="connsiteY76" fmla="*/ 963767 h 1340863"/>
              <a:gd name="connsiteX77" fmla="*/ 1386193 w 4905255"/>
              <a:gd name="connsiteY77" fmla="*/ 963767 h 1340863"/>
              <a:gd name="connsiteX78" fmla="*/ 1386193 w 4905255"/>
              <a:gd name="connsiteY78" fmla="*/ 953552 h 1340863"/>
              <a:gd name="connsiteX79" fmla="*/ 1395082 w 4905255"/>
              <a:gd name="connsiteY79" fmla="*/ 953552 h 1340863"/>
              <a:gd name="connsiteX80" fmla="*/ 1395082 w 4905255"/>
              <a:gd name="connsiteY80" fmla="*/ 943336 h 1340863"/>
              <a:gd name="connsiteX81" fmla="*/ 1407057 w 4905255"/>
              <a:gd name="connsiteY81" fmla="*/ 943336 h 1340863"/>
              <a:gd name="connsiteX82" fmla="*/ 1407057 w 4905255"/>
              <a:gd name="connsiteY82" fmla="*/ 933020 h 1340863"/>
              <a:gd name="connsiteX83" fmla="*/ 1409897 w 4905255"/>
              <a:gd name="connsiteY83" fmla="*/ 933020 h 1340863"/>
              <a:gd name="connsiteX84" fmla="*/ 1409897 w 4905255"/>
              <a:gd name="connsiteY84" fmla="*/ 922805 h 1340863"/>
              <a:gd name="connsiteX85" fmla="*/ 1412983 w 4905255"/>
              <a:gd name="connsiteY85" fmla="*/ 922805 h 1340863"/>
              <a:gd name="connsiteX86" fmla="*/ 1412983 w 4905255"/>
              <a:gd name="connsiteY86" fmla="*/ 912489 h 1340863"/>
              <a:gd name="connsiteX87" fmla="*/ 1433724 w 4905255"/>
              <a:gd name="connsiteY87" fmla="*/ 912489 h 1340863"/>
              <a:gd name="connsiteX88" fmla="*/ 1433724 w 4905255"/>
              <a:gd name="connsiteY88" fmla="*/ 902174 h 1340863"/>
              <a:gd name="connsiteX89" fmla="*/ 1502120 w 4905255"/>
              <a:gd name="connsiteY89" fmla="*/ 902174 h 1340863"/>
              <a:gd name="connsiteX90" fmla="*/ 1502120 w 4905255"/>
              <a:gd name="connsiteY90" fmla="*/ 891859 h 1340863"/>
              <a:gd name="connsiteX91" fmla="*/ 1540886 w 4905255"/>
              <a:gd name="connsiteY91" fmla="*/ 891859 h 1340863"/>
              <a:gd name="connsiteX92" fmla="*/ 1540886 w 4905255"/>
              <a:gd name="connsiteY92" fmla="*/ 881544 h 1340863"/>
              <a:gd name="connsiteX93" fmla="*/ 1662864 w 4905255"/>
              <a:gd name="connsiteY93" fmla="*/ 881544 h 1340863"/>
              <a:gd name="connsiteX94" fmla="*/ 1662864 w 4905255"/>
              <a:gd name="connsiteY94" fmla="*/ 871130 h 1340863"/>
              <a:gd name="connsiteX95" fmla="*/ 1677679 w 4905255"/>
              <a:gd name="connsiteY95" fmla="*/ 871130 h 1340863"/>
              <a:gd name="connsiteX96" fmla="*/ 1677679 w 4905255"/>
              <a:gd name="connsiteY96" fmla="*/ 860716 h 1340863"/>
              <a:gd name="connsiteX97" fmla="*/ 1710395 w 4905255"/>
              <a:gd name="connsiteY97" fmla="*/ 860716 h 1340863"/>
              <a:gd name="connsiteX98" fmla="*/ 1710395 w 4905255"/>
              <a:gd name="connsiteY98" fmla="*/ 850202 h 1340863"/>
              <a:gd name="connsiteX99" fmla="*/ 1743112 w 4905255"/>
              <a:gd name="connsiteY99" fmla="*/ 850202 h 1340863"/>
              <a:gd name="connsiteX100" fmla="*/ 1743112 w 4905255"/>
              <a:gd name="connsiteY100" fmla="*/ 839689 h 1340863"/>
              <a:gd name="connsiteX101" fmla="*/ 1752001 w 4905255"/>
              <a:gd name="connsiteY101" fmla="*/ 839689 h 1340863"/>
              <a:gd name="connsiteX102" fmla="*/ 1752001 w 4905255"/>
              <a:gd name="connsiteY102" fmla="*/ 829274 h 1340863"/>
              <a:gd name="connsiteX103" fmla="*/ 1758050 w 4905255"/>
              <a:gd name="connsiteY103" fmla="*/ 829274 h 1340863"/>
              <a:gd name="connsiteX104" fmla="*/ 1758050 w 4905255"/>
              <a:gd name="connsiteY104" fmla="*/ 818662 h 1340863"/>
              <a:gd name="connsiteX105" fmla="*/ 1766939 w 4905255"/>
              <a:gd name="connsiteY105" fmla="*/ 818662 h 1340863"/>
              <a:gd name="connsiteX106" fmla="*/ 1766939 w 4905255"/>
              <a:gd name="connsiteY106" fmla="*/ 808148 h 1340863"/>
              <a:gd name="connsiteX107" fmla="*/ 1772865 w 4905255"/>
              <a:gd name="connsiteY107" fmla="*/ 808148 h 1340863"/>
              <a:gd name="connsiteX108" fmla="*/ 1772865 w 4905255"/>
              <a:gd name="connsiteY108" fmla="*/ 797635 h 1340863"/>
              <a:gd name="connsiteX109" fmla="*/ 1778791 w 4905255"/>
              <a:gd name="connsiteY109" fmla="*/ 797635 h 1340863"/>
              <a:gd name="connsiteX110" fmla="*/ 1778791 w 4905255"/>
              <a:gd name="connsiteY110" fmla="*/ 787121 h 1340863"/>
              <a:gd name="connsiteX111" fmla="*/ 1835335 w 4905255"/>
              <a:gd name="connsiteY111" fmla="*/ 787121 h 1340863"/>
              <a:gd name="connsiteX112" fmla="*/ 1835335 w 4905255"/>
              <a:gd name="connsiteY112" fmla="*/ 776410 h 1340863"/>
              <a:gd name="connsiteX113" fmla="*/ 1882990 w 4905255"/>
              <a:gd name="connsiteY113" fmla="*/ 776410 h 1340863"/>
              <a:gd name="connsiteX114" fmla="*/ 1882990 w 4905255"/>
              <a:gd name="connsiteY114" fmla="*/ 765698 h 1340863"/>
              <a:gd name="connsiteX115" fmla="*/ 1942374 w 4905255"/>
              <a:gd name="connsiteY115" fmla="*/ 765698 h 1340863"/>
              <a:gd name="connsiteX116" fmla="*/ 1942374 w 4905255"/>
              <a:gd name="connsiteY116" fmla="*/ 755085 h 1340863"/>
              <a:gd name="connsiteX117" fmla="*/ 1975090 w 4905255"/>
              <a:gd name="connsiteY117" fmla="*/ 755085 h 1340863"/>
              <a:gd name="connsiteX118" fmla="*/ 1975090 w 4905255"/>
              <a:gd name="connsiteY118" fmla="*/ 744373 h 1340863"/>
              <a:gd name="connsiteX119" fmla="*/ 1990029 w 4905255"/>
              <a:gd name="connsiteY119" fmla="*/ 744373 h 1340863"/>
              <a:gd name="connsiteX120" fmla="*/ 1990029 w 4905255"/>
              <a:gd name="connsiteY120" fmla="*/ 733562 h 1340863"/>
              <a:gd name="connsiteX121" fmla="*/ 1995955 w 4905255"/>
              <a:gd name="connsiteY121" fmla="*/ 733562 h 1340863"/>
              <a:gd name="connsiteX122" fmla="*/ 1995955 w 4905255"/>
              <a:gd name="connsiteY122" fmla="*/ 722850 h 1340863"/>
              <a:gd name="connsiteX123" fmla="*/ 2028671 w 4905255"/>
              <a:gd name="connsiteY123" fmla="*/ 722850 h 1340863"/>
              <a:gd name="connsiteX124" fmla="*/ 2028671 w 4905255"/>
              <a:gd name="connsiteY124" fmla="*/ 712039 h 1340863"/>
              <a:gd name="connsiteX125" fmla="*/ 2055462 w 4905255"/>
              <a:gd name="connsiteY125" fmla="*/ 712039 h 1340863"/>
              <a:gd name="connsiteX126" fmla="*/ 2055462 w 4905255"/>
              <a:gd name="connsiteY126" fmla="*/ 701228 h 1340863"/>
              <a:gd name="connsiteX127" fmla="*/ 2073363 w 4905255"/>
              <a:gd name="connsiteY127" fmla="*/ 701228 h 1340863"/>
              <a:gd name="connsiteX128" fmla="*/ 2073363 w 4905255"/>
              <a:gd name="connsiteY128" fmla="*/ 690417 h 1340863"/>
              <a:gd name="connsiteX129" fmla="*/ 2088178 w 4905255"/>
              <a:gd name="connsiteY129" fmla="*/ 690417 h 1340863"/>
              <a:gd name="connsiteX130" fmla="*/ 2088178 w 4905255"/>
              <a:gd name="connsiteY130" fmla="*/ 679507 h 1340863"/>
              <a:gd name="connsiteX131" fmla="*/ 2144722 w 4905255"/>
              <a:gd name="connsiteY131" fmla="*/ 679507 h 1340863"/>
              <a:gd name="connsiteX132" fmla="*/ 2144722 w 4905255"/>
              <a:gd name="connsiteY132" fmla="*/ 668597 h 1340863"/>
              <a:gd name="connsiteX133" fmla="*/ 2150648 w 4905255"/>
              <a:gd name="connsiteY133" fmla="*/ 668597 h 1340863"/>
              <a:gd name="connsiteX134" fmla="*/ 2150648 w 4905255"/>
              <a:gd name="connsiteY134" fmla="*/ 657687 h 1340863"/>
              <a:gd name="connsiteX135" fmla="*/ 2260650 w 4905255"/>
              <a:gd name="connsiteY135" fmla="*/ 657687 h 1340863"/>
              <a:gd name="connsiteX136" fmla="*/ 2260650 w 4905255"/>
              <a:gd name="connsiteY136" fmla="*/ 646776 h 1340863"/>
              <a:gd name="connsiteX137" fmla="*/ 2266700 w 4905255"/>
              <a:gd name="connsiteY137" fmla="*/ 646776 h 1340863"/>
              <a:gd name="connsiteX138" fmla="*/ 2266700 w 4905255"/>
              <a:gd name="connsiteY138" fmla="*/ 635866 h 1340863"/>
              <a:gd name="connsiteX139" fmla="*/ 2299416 w 4905255"/>
              <a:gd name="connsiteY139" fmla="*/ 635866 h 1340863"/>
              <a:gd name="connsiteX140" fmla="*/ 2299416 w 4905255"/>
              <a:gd name="connsiteY140" fmla="*/ 624956 h 1340863"/>
              <a:gd name="connsiteX141" fmla="*/ 2358923 w 4905255"/>
              <a:gd name="connsiteY141" fmla="*/ 624956 h 1340863"/>
              <a:gd name="connsiteX142" fmla="*/ 2358923 w 4905255"/>
              <a:gd name="connsiteY142" fmla="*/ 613947 h 1340863"/>
              <a:gd name="connsiteX143" fmla="*/ 2412381 w 4905255"/>
              <a:gd name="connsiteY143" fmla="*/ 613947 h 1340863"/>
              <a:gd name="connsiteX144" fmla="*/ 2412381 w 4905255"/>
              <a:gd name="connsiteY144" fmla="*/ 591531 h 1340863"/>
              <a:gd name="connsiteX145" fmla="*/ 2418307 w 4905255"/>
              <a:gd name="connsiteY145" fmla="*/ 591531 h 1340863"/>
              <a:gd name="connsiteX146" fmla="*/ 2418307 w 4905255"/>
              <a:gd name="connsiteY146" fmla="*/ 580423 h 1340863"/>
              <a:gd name="connsiteX147" fmla="*/ 2448060 w 4905255"/>
              <a:gd name="connsiteY147" fmla="*/ 580423 h 1340863"/>
              <a:gd name="connsiteX148" fmla="*/ 2448060 w 4905255"/>
              <a:gd name="connsiteY148" fmla="*/ 569116 h 1340863"/>
              <a:gd name="connsiteX149" fmla="*/ 2534358 w 4905255"/>
              <a:gd name="connsiteY149" fmla="*/ 569116 h 1340863"/>
              <a:gd name="connsiteX150" fmla="*/ 2534358 w 4905255"/>
              <a:gd name="connsiteY150" fmla="*/ 557908 h 1340863"/>
              <a:gd name="connsiteX151" fmla="*/ 2579050 w 4905255"/>
              <a:gd name="connsiteY151" fmla="*/ 557908 h 1340863"/>
              <a:gd name="connsiteX152" fmla="*/ 2579050 w 4905255"/>
              <a:gd name="connsiteY152" fmla="*/ 546502 h 1340863"/>
              <a:gd name="connsiteX153" fmla="*/ 2638557 w 4905255"/>
              <a:gd name="connsiteY153" fmla="*/ 546502 h 1340863"/>
              <a:gd name="connsiteX154" fmla="*/ 2638557 w 4905255"/>
              <a:gd name="connsiteY154" fmla="*/ 535096 h 1340863"/>
              <a:gd name="connsiteX155" fmla="*/ 2659421 w 4905255"/>
              <a:gd name="connsiteY155" fmla="*/ 535096 h 1340863"/>
              <a:gd name="connsiteX156" fmla="*/ 2659421 w 4905255"/>
              <a:gd name="connsiteY156" fmla="*/ 523590 h 1340863"/>
              <a:gd name="connsiteX157" fmla="*/ 2727694 w 4905255"/>
              <a:gd name="connsiteY157" fmla="*/ 523590 h 1340863"/>
              <a:gd name="connsiteX158" fmla="*/ 2727694 w 4905255"/>
              <a:gd name="connsiteY158" fmla="*/ 512085 h 1340863"/>
              <a:gd name="connsiteX159" fmla="*/ 2730780 w 4905255"/>
              <a:gd name="connsiteY159" fmla="*/ 512085 h 1340863"/>
              <a:gd name="connsiteX160" fmla="*/ 2730780 w 4905255"/>
              <a:gd name="connsiteY160" fmla="*/ 500481 h 1340863"/>
              <a:gd name="connsiteX161" fmla="*/ 2855597 w 4905255"/>
              <a:gd name="connsiteY161" fmla="*/ 500481 h 1340863"/>
              <a:gd name="connsiteX162" fmla="*/ 2855597 w 4905255"/>
              <a:gd name="connsiteY162" fmla="*/ 488777 h 1340863"/>
              <a:gd name="connsiteX163" fmla="*/ 2927079 w 4905255"/>
              <a:gd name="connsiteY163" fmla="*/ 488777 h 1340863"/>
              <a:gd name="connsiteX164" fmla="*/ 2927079 w 4905255"/>
              <a:gd name="connsiteY164" fmla="*/ 476875 h 1340863"/>
              <a:gd name="connsiteX165" fmla="*/ 3031155 w 4905255"/>
              <a:gd name="connsiteY165" fmla="*/ 476875 h 1340863"/>
              <a:gd name="connsiteX166" fmla="*/ 3031155 w 4905255"/>
              <a:gd name="connsiteY166" fmla="*/ 465072 h 1340863"/>
              <a:gd name="connsiteX167" fmla="*/ 3096588 w 4905255"/>
              <a:gd name="connsiteY167" fmla="*/ 465072 h 1340863"/>
              <a:gd name="connsiteX168" fmla="*/ 3096588 w 4905255"/>
              <a:gd name="connsiteY168" fmla="*/ 453170 h 1340863"/>
              <a:gd name="connsiteX169" fmla="*/ 3117452 w 4905255"/>
              <a:gd name="connsiteY169" fmla="*/ 453170 h 1340863"/>
              <a:gd name="connsiteX170" fmla="*/ 3117452 w 4905255"/>
              <a:gd name="connsiteY170" fmla="*/ 441169 h 1340863"/>
              <a:gd name="connsiteX171" fmla="*/ 3141280 w 4905255"/>
              <a:gd name="connsiteY171" fmla="*/ 441169 h 1340863"/>
              <a:gd name="connsiteX172" fmla="*/ 3141280 w 4905255"/>
              <a:gd name="connsiteY172" fmla="*/ 429068 h 1340863"/>
              <a:gd name="connsiteX173" fmla="*/ 3150169 w 4905255"/>
              <a:gd name="connsiteY173" fmla="*/ 429068 h 1340863"/>
              <a:gd name="connsiteX174" fmla="*/ 3150169 w 4905255"/>
              <a:gd name="connsiteY174" fmla="*/ 417067 h 1340863"/>
              <a:gd name="connsiteX175" fmla="*/ 3173997 w 4905255"/>
              <a:gd name="connsiteY175" fmla="*/ 417067 h 1340863"/>
              <a:gd name="connsiteX176" fmla="*/ 3173997 w 4905255"/>
              <a:gd name="connsiteY176" fmla="*/ 405066 h 1340863"/>
              <a:gd name="connsiteX177" fmla="*/ 3188811 w 4905255"/>
              <a:gd name="connsiteY177" fmla="*/ 405066 h 1340863"/>
              <a:gd name="connsiteX178" fmla="*/ 3188811 w 4905255"/>
              <a:gd name="connsiteY178" fmla="*/ 392866 h 1340863"/>
              <a:gd name="connsiteX179" fmla="*/ 3286961 w 4905255"/>
              <a:gd name="connsiteY179" fmla="*/ 392866 h 1340863"/>
              <a:gd name="connsiteX180" fmla="*/ 3286961 w 4905255"/>
              <a:gd name="connsiteY180" fmla="*/ 380667 h 1340863"/>
              <a:gd name="connsiteX181" fmla="*/ 3289924 w 4905255"/>
              <a:gd name="connsiteY181" fmla="*/ 380667 h 1340863"/>
              <a:gd name="connsiteX182" fmla="*/ 3289924 w 4905255"/>
              <a:gd name="connsiteY182" fmla="*/ 368467 h 1340863"/>
              <a:gd name="connsiteX183" fmla="*/ 3349431 w 4905255"/>
              <a:gd name="connsiteY183" fmla="*/ 368467 h 1340863"/>
              <a:gd name="connsiteX184" fmla="*/ 3349431 w 4905255"/>
              <a:gd name="connsiteY184" fmla="*/ 356069 h 1340863"/>
              <a:gd name="connsiteX185" fmla="*/ 3364370 w 4905255"/>
              <a:gd name="connsiteY185" fmla="*/ 356069 h 1340863"/>
              <a:gd name="connsiteX186" fmla="*/ 3364370 w 4905255"/>
              <a:gd name="connsiteY186" fmla="*/ 331273 h 1340863"/>
              <a:gd name="connsiteX187" fmla="*/ 3447581 w 4905255"/>
              <a:gd name="connsiteY187" fmla="*/ 331273 h 1340863"/>
              <a:gd name="connsiteX188" fmla="*/ 3447581 w 4905255"/>
              <a:gd name="connsiteY188" fmla="*/ 318776 h 1340863"/>
              <a:gd name="connsiteX189" fmla="*/ 3560669 w 4905255"/>
              <a:gd name="connsiteY189" fmla="*/ 318776 h 1340863"/>
              <a:gd name="connsiteX190" fmla="*/ 3560669 w 4905255"/>
              <a:gd name="connsiteY190" fmla="*/ 306081 h 1340863"/>
              <a:gd name="connsiteX191" fmla="*/ 3590422 w 4905255"/>
              <a:gd name="connsiteY191" fmla="*/ 306081 h 1340863"/>
              <a:gd name="connsiteX192" fmla="*/ 3590422 w 4905255"/>
              <a:gd name="connsiteY192" fmla="*/ 293385 h 1340863"/>
              <a:gd name="connsiteX193" fmla="*/ 3596348 w 4905255"/>
              <a:gd name="connsiteY193" fmla="*/ 293385 h 1340863"/>
              <a:gd name="connsiteX194" fmla="*/ 3596348 w 4905255"/>
              <a:gd name="connsiteY194" fmla="*/ 280591 h 1340863"/>
              <a:gd name="connsiteX195" fmla="*/ 3673757 w 4905255"/>
              <a:gd name="connsiteY195" fmla="*/ 280591 h 1340863"/>
              <a:gd name="connsiteX196" fmla="*/ 3673757 w 4905255"/>
              <a:gd name="connsiteY196" fmla="*/ 267697 h 1340863"/>
              <a:gd name="connsiteX197" fmla="*/ 3873019 w 4905255"/>
              <a:gd name="connsiteY197" fmla="*/ 267697 h 1340863"/>
              <a:gd name="connsiteX198" fmla="*/ 3873019 w 4905255"/>
              <a:gd name="connsiteY198" fmla="*/ 254108 h 1340863"/>
              <a:gd name="connsiteX199" fmla="*/ 3878945 w 4905255"/>
              <a:gd name="connsiteY199" fmla="*/ 254108 h 1340863"/>
              <a:gd name="connsiteX200" fmla="*/ 3878945 w 4905255"/>
              <a:gd name="connsiteY200" fmla="*/ 240421 h 1340863"/>
              <a:gd name="connsiteX201" fmla="*/ 3893884 w 4905255"/>
              <a:gd name="connsiteY201" fmla="*/ 240421 h 1340863"/>
              <a:gd name="connsiteX202" fmla="*/ 3893884 w 4905255"/>
              <a:gd name="connsiteY202" fmla="*/ 226635 h 1340863"/>
              <a:gd name="connsiteX203" fmla="*/ 3956230 w 4905255"/>
              <a:gd name="connsiteY203" fmla="*/ 226635 h 1340863"/>
              <a:gd name="connsiteX204" fmla="*/ 3956230 w 4905255"/>
              <a:gd name="connsiteY204" fmla="*/ 212352 h 1340863"/>
              <a:gd name="connsiteX205" fmla="*/ 4182406 w 4905255"/>
              <a:gd name="connsiteY205" fmla="*/ 212352 h 1340863"/>
              <a:gd name="connsiteX206" fmla="*/ 4182406 w 4905255"/>
              <a:gd name="connsiteY206" fmla="*/ 195293 h 1340863"/>
              <a:gd name="connsiteX207" fmla="*/ 4215123 w 4905255"/>
              <a:gd name="connsiteY207" fmla="*/ 195293 h 1340863"/>
              <a:gd name="connsiteX208" fmla="*/ 4215123 w 4905255"/>
              <a:gd name="connsiteY208" fmla="*/ 177638 h 1340863"/>
              <a:gd name="connsiteX209" fmla="*/ 4233024 w 4905255"/>
              <a:gd name="connsiteY209" fmla="*/ 177638 h 1340863"/>
              <a:gd name="connsiteX210" fmla="*/ 4233024 w 4905255"/>
              <a:gd name="connsiteY210" fmla="*/ 159686 h 1340863"/>
              <a:gd name="connsiteX211" fmla="*/ 4348952 w 4905255"/>
              <a:gd name="connsiteY211" fmla="*/ 159686 h 1340863"/>
              <a:gd name="connsiteX212" fmla="*/ 4348952 w 4905255"/>
              <a:gd name="connsiteY212" fmla="*/ 139948 h 1340863"/>
              <a:gd name="connsiteX213" fmla="*/ 4512534 w 4905255"/>
              <a:gd name="connsiteY213" fmla="*/ 139948 h 1340863"/>
              <a:gd name="connsiteX214" fmla="*/ 4512534 w 4905255"/>
              <a:gd name="connsiteY214" fmla="*/ 116144 h 1340863"/>
              <a:gd name="connsiteX215" fmla="*/ 4726735 w 4905255"/>
              <a:gd name="connsiteY215" fmla="*/ 116144 h 1340863"/>
              <a:gd name="connsiteX216" fmla="*/ 4726735 w 4905255"/>
              <a:gd name="connsiteY216" fmla="*/ 83810 h 1340863"/>
              <a:gd name="connsiteX217" fmla="*/ 4750563 w 4905255"/>
              <a:gd name="connsiteY217" fmla="*/ 83810 h 1340863"/>
              <a:gd name="connsiteX218" fmla="*/ 4750563 w 4905255"/>
              <a:gd name="connsiteY218" fmla="*/ 50187 h 1340863"/>
              <a:gd name="connsiteX219" fmla="*/ 4905256 w 4905255"/>
              <a:gd name="connsiteY219" fmla="*/ 50187 h 1340863"/>
              <a:gd name="connsiteX220" fmla="*/ 4905256 w 4905255"/>
              <a:gd name="connsiteY220" fmla="*/ 0 h 1340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</a:cxnLst>
            <a:rect l="l" t="t" r="r" b="b"/>
            <a:pathLst>
              <a:path w="4905255" h="1340863">
                <a:moveTo>
                  <a:pt x="0" y="1340864"/>
                </a:moveTo>
                <a:lnTo>
                  <a:pt x="2963" y="1340864"/>
                </a:lnTo>
                <a:lnTo>
                  <a:pt x="2963" y="1331540"/>
                </a:lnTo>
                <a:lnTo>
                  <a:pt x="77285" y="1331540"/>
                </a:lnTo>
                <a:lnTo>
                  <a:pt x="77285" y="1322217"/>
                </a:lnTo>
                <a:lnTo>
                  <a:pt x="80248" y="1322217"/>
                </a:lnTo>
                <a:lnTo>
                  <a:pt x="80248" y="1312894"/>
                </a:lnTo>
                <a:lnTo>
                  <a:pt x="151607" y="1312894"/>
                </a:lnTo>
                <a:lnTo>
                  <a:pt x="151607" y="1303471"/>
                </a:lnTo>
                <a:lnTo>
                  <a:pt x="196299" y="1303471"/>
                </a:lnTo>
                <a:lnTo>
                  <a:pt x="196299" y="1294049"/>
                </a:lnTo>
                <a:lnTo>
                  <a:pt x="217164" y="1294049"/>
                </a:lnTo>
                <a:lnTo>
                  <a:pt x="217164" y="1284726"/>
                </a:lnTo>
                <a:lnTo>
                  <a:pt x="226053" y="1284726"/>
                </a:lnTo>
                <a:lnTo>
                  <a:pt x="226053" y="1275303"/>
                </a:lnTo>
                <a:lnTo>
                  <a:pt x="291486" y="1275303"/>
                </a:lnTo>
                <a:lnTo>
                  <a:pt x="291486" y="1265980"/>
                </a:lnTo>
                <a:lnTo>
                  <a:pt x="345067" y="1265980"/>
                </a:lnTo>
                <a:lnTo>
                  <a:pt x="345067" y="1256458"/>
                </a:lnTo>
                <a:lnTo>
                  <a:pt x="365808" y="1256458"/>
                </a:lnTo>
                <a:lnTo>
                  <a:pt x="365808" y="1247036"/>
                </a:lnTo>
                <a:lnTo>
                  <a:pt x="422352" y="1247036"/>
                </a:lnTo>
                <a:lnTo>
                  <a:pt x="422352" y="1237613"/>
                </a:lnTo>
                <a:lnTo>
                  <a:pt x="437167" y="1237613"/>
                </a:lnTo>
                <a:lnTo>
                  <a:pt x="437167" y="1228092"/>
                </a:lnTo>
                <a:lnTo>
                  <a:pt x="496797" y="1228092"/>
                </a:lnTo>
                <a:lnTo>
                  <a:pt x="496797" y="1218669"/>
                </a:lnTo>
                <a:lnTo>
                  <a:pt x="511612" y="1218669"/>
                </a:lnTo>
                <a:lnTo>
                  <a:pt x="511612" y="1209148"/>
                </a:lnTo>
                <a:lnTo>
                  <a:pt x="517538" y="1209148"/>
                </a:lnTo>
                <a:lnTo>
                  <a:pt x="517538" y="1199626"/>
                </a:lnTo>
                <a:lnTo>
                  <a:pt x="520625" y="1199626"/>
                </a:lnTo>
                <a:lnTo>
                  <a:pt x="520625" y="1190104"/>
                </a:lnTo>
                <a:lnTo>
                  <a:pt x="618651" y="1190104"/>
                </a:lnTo>
                <a:lnTo>
                  <a:pt x="618651" y="1180583"/>
                </a:lnTo>
                <a:lnTo>
                  <a:pt x="624700" y="1180583"/>
                </a:lnTo>
                <a:lnTo>
                  <a:pt x="624700" y="1171061"/>
                </a:lnTo>
                <a:lnTo>
                  <a:pt x="687047" y="1171061"/>
                </a:lnTo>
                <a:lnTo>
                  <a:pt x="687047" y="1161440"/>
                </a:lnTo>
                <a:lnTo>
                  <a:pt x="734702" y="1161440"/>
                </a:lnTo>
                <a:lnTo>
                  <a:pt x="734702" y="1151919"/>
                </a:lnTo>
                <a:lnTo>
                  <a:pt x="782357" y="1151919"/>
                </a:lnTo>
                <a:lnTo>
                  <a:pt x="782357" y="1142298"/>
                </a:lnTo>
                <a:lnTo>
                  <a:pt x="797172" y="1142298"/>
                </a:lnTo>
                <a:lnTo>
                  <a:pt x="797172" y="1132677"/>
                </a:lnTo>
                <a:lnTo>
                  <a:pt x="841864" y="1132677"/>
                </a:lnTo>
                <a:lnTo>
                  <a:pt x="841864" y="1123056"/>
                </a:lnTo>
                <a:lnTo>
                  <a:pt x="856679" y="1123056"/>
                </a:lnTo>
                <a:lnTo>
                  <a:pt x="856679" y="1103716"/>
                </a:lnTo>
                <a:lnTo>
                  <a:pt x="865568" y="1103716"/>
                </a:lnTo>
                <a:lnTo>
                  <a:pt x="865568" y="1093896"/>
                </a:lnTo>
                <a:lnTo>
                  <a:pt x="898285" y="1093896"/>
                </a:lnTo>
                <a:lnTo>
                  <a:pt x="898285" y="1084176"/>
                </a:lnTo>
                <a:lnTo>
                  <a:pt x="984582" y="1084176"/>
                </a:lnTo>
                <a:lnTo>
                  <a:pt x="984582" y="1074456"/>
                </a:lnTo>
                <a:lnTo>
                  <a:pt x="1005447" y="1074456"/>
                </a:lnTo>
                <a:lnTo>
                  <a:pt x="1005447" y="1064538"/>
                </a:lnTo>
                <a:lnTo>
                  <a:pt x="1032237" y="1064538"/>
                </a:lnTo>
                <a:lnTo>
                  <a:pt x="1032237" y="1054620"/>
                </a:lnTo>
                <a:lnTo>
                  <a:pt x="1035200" y="1054620"/>
                </a:lnTo>
                <a:lnTo>
                  <a:pt x="1035200" y="1044602"/>
                </a:lnTo>
                <a:lnTo>
                  <a:pt x="1109522" y="1044602"/>
                </a:lnTo>
                <a:lnTo>
                  <a:pt x="1109522" y="1034585"/>
                </a:lnTo>
                <a:lnTo>
                  <a:pt x="1115448" y="1034585"/>
                </a:lnTo>
                <a:lnTo>
                  <a:pt x="1115448" y="1024666"/>
                </a:lnTo>
                <a:lnTo>
                  <a:pt x="1148165" y="1024666"/>
                </a:lnTo>
                <a:lnTo>
                  <a:pt x="1148165" y="1014649"/>
                </a:lnTo>
                <a:lnTo>
                  <a:pt x="1222610" y="1014649"/>
                </a:lnTo>
                <a:lnTo>
                  <a:pt x="1222610" y="1004433"/>
                </a:lnTo>
                <a:lnTo>
                  <a:pt x="1240388" y="1004433"/>
                </a:lnTo>
                <a:lnTo>
                  <a:pt x="1240388" y="994415"/>
                </a:lnTo>
                <a:lnTo>
                  <a:pt x="1264216" y="994415"/>
                </a:lnTo>
                <a:lnTo>
                  <a:pt x="1264216" y="984199"/>
                </a:lnTo>
                <a:lnTo>
                  <a:pt x="1332612" y="984199"/>
                </a:lnTo>
                <a:lnTo>
                  <a:pt x="1332612" y="973983"/>
                </a:lnTo>
                <a:lnTo>
                  <a:pt x="1362365" y="973983"/>
                </a:lnTo>
                <a:lnTo>
                  <a:pt x="1362365" y="963767"/>
                </a:lnTo>
                <a:lnTo>
                  <a:pt x="1386193" y="963767"/>
                </a:lnTo>
                <a:lnTo>
                  <a:pt x="1386193" y="953552"/>
                </a:lnTo>
                <a:lnTo>
                  <a:pt x="1395082" y="953552"/>
                </a:lnTo>
                <a:lnTo>
                  <a:pt x="1395082" y="943336"/>
                </a:lnTo>
                <a:lnTo>
                  <a:pt x="1407057" y="943336"/>
                </a:lnTo>
                <a:lnTo>
                  <a:pt x="1407057" y="933020"/>
                </a:lnTo>
                <a:lnTo>
                  <a:pt x="1409897" y="933020"/>
                </a:lnTo>
                <a:lnTo>
                  <a:pt x="1409897" y="922805"/>
                </a:lnTo>
                <a:lnTo>
                  <a:pt x="1412983" y="922805"/>
                </a:lnTo>
                <a:lnTo>
                  <a:pt x="1412983" y="912489"/>
                </a:lnTo>
                <a:lnTo>
                  <a:pt x="1433724" y="912489"/>
                </a:lnTo>
                <a:lnTo>
                  <a:pt x="1433724" y="902174"/>
                </a:lnTo>
                <a:lnTo>
                  <a:pt x="1502120" y="902174"/>
                </a:lnTo>
                <a:lnTo>
                  <a:pt x="1502120" y="891859"/>
                </a:lnTo>
                <a:lnTo>
                  <a:pt x="1540886" y="891859"/>
                </a:lnTo>
                <a:lnTo>
                  <a:pt x="1540886" y="881544"/>
                </a:lnTo>
                <a:lnTo>
                  <a:pt x="1662864" y="881544"/>
                </a:lnTo>
                <a:lnTo>
                  <a:pt x="1662864" y="871130"/>
                </a:lnTo>
                <a:lnTo>
                  <a:pt x="1677679" y="871130"/>
                </a:lnTo>
                <a:lnTo>
                  <a:pt x="1677679" y="860716"/>
                </a:lnTo>
                <a:lnTo>
                  <a:pt x="1710395" y="860716"/>
                </a:lnTo>
                <a:lnTo>
                  <a:pt x="1710395" y="850202"/>
                </a:lnTo>
                <a:lnTo>
                  <a:pt x="1743112" y="850202"/>
                </a:lnTo>
                <a:lnTo>
                  <a:pt x="1743112" y="839689"/>
                </a:lnTo>
                <a:lnTo>
                  <a:pt x="1752001" y="839689"/>
                </a:lnTo>
                <a:lnTo>
                  <a:pt x="1752001" y="829274"/>
                </a:lnTo>
                <a:lnTo>
                  <a:pt x="1758050" y="829274"/>
                </a:lnTo>
                <a:lnTo>
                  <a:pt x="1758050" y="818662"/>
                </a:lnTo>
                <a:lnTo>
                  <a:pt x="1766939" y="818662"/>
                </a:lnTo>
                <a:lnTo>
                  <a:pt x="1766939" y="808148"/>
                </a:lnTo>
                <a:lnTo>
                  <a:pt x="1772865" y="808148"/>
                </a:lnTo>
                <a:lnTo>
                  <a:pt x="1772865" y="797635"/>
                </a:lnTo>
                <a:lnTo>
                  <a:pt x="1778791" y="797635"/>
                </a:lnTo>
                <a:lnTo>
                  <a:pt x="1778791" y="787121"/>
                </a:lnTo>
                <a:lnTo>
                  <a:pt x="1835335" y="787121"/>
                </a:lnTo>
                <a:lnTo>
                  <a:pt x="1835335" y="776410"/>
                </a:lnTo>
                <a:lnTo>
                  <a:pt x="1882990" y="776410"/>
                </a:lnTo>
                <a:lnTo>
                  <a:pt x="1882990" y="765698"/>
                </a:lnTo>
                <a:lnTo>
                  <a:pt x="1942374" y="765698"/>
                </a:lnTo>
                <a:lnTo>
                  <a:pt x="1942374" y="755085"/>
                </a:lnTo>
                <a:lnTo>
                  <a:pt x="1975090" y="755085"/>
                </a:lnTo>
                <a:lnTo>
                  <a:pt x="1975090" y="744373"/>
                </a:lnTo>
                <a:lnTo>
                  <a:pt x="1990029" y="744373"/>
                </a:lnTo>
                <a:lnTo>
                  <a:pt x="1990029" y="733562"/>
                </a:lnTo>
                <a:lnTo>
                  <a:pt x="1995955" y="733562"/>
                </a:lnTo>
                <a:lnTo>
                  <a:pt x="1995955" y="722850"/>
                </a:lnTo>
                <a:lnTo>
                  <a:pt x="2028671" y="722850"/>
                </a:lnTo>
                <a:lnTo>
                  <a:pt x="2028671" y="712039"/>
                </a:lnTo>
                <a:lnTo>
                  <a:pt x="2055462" y="712039"/>
                </a:lnTo>
                <a:lnTo>
                  <a:pt x="2055462" y="701228"/>
                </a:lnTo>
                <a:lnTo>
                  <a:pt x="2073363" y="701228"/>
                </a:lnTo>
                <a:lnTo>
                  <a:pt x="2073363" y="690417"/>
                </a:lnTo>
                <a:lnTo>
                  <a:pt x="2088178" y="690417"/>
                </a:lnTo>
                <a:lnTo>
                  <a:pt x="2088178" y="679507"/>
                </a:lnTo>
                <a:lnTo>
                  <a:pt x="2144722" y="679507"/>
                </a:lnTo>
                <a:lnTo>
                  <a:pt x="2144722" y="668597"/>
                </a:lnTo>
                <a:lnTo>
                  <a:pt x="2150648" y="668597"/>
                </a:lnTo>
                <a:lnTo>
                  <a:pt x="2150648" y="657687"/>
                </a:lnTo>
                <a:lnTo>
                  <a:pt x="2260650" y="657687"/>
                </a:lnTo>
                <a:lnTo>
                  <a:pt x="2260650" y="646776"/>
                </a:lnTo>
                <a:lnTo>
                  <a:pt x="2266700" y="646776"/>
                </a:lnTo>
                <a:lnTo>
                  <a:pt x="2266700" y="635866"/>
                </a:lnTo>
                <a:lnTo>
                  <a:pt x="2299416" y="635866"/>
                </a:lnTo>
                <a:lnTo>
                  <a:pt x="2299416" y="624956"/>
                </a:lnTo>
                <a:lnTo>
                  <a:pt x="2358923" y="624956"/>
                </a:lnTo>
                <a:lnTo>
                  <a:pt x="2358923" y="613947"/>
                </a:lnTo>
                <a:lnTo>
                  <a:pt x="2412381" y="613947"/>
                </a:lnTo>
                <a:lnTo>
                  <a:pt x="2412381" y="591531"/>
                </a:lnTo>
                <a:lnTo>
                  <a:pt x="2418307" y="591531"/>
                </a:lnTo>
                <a:lnTo>
                  <a:pt x="2418307" y="580423"/>
                </a:lnTo>
                <a:lnTo>
                  <a:pt x="2448060" y="580423"/>
                </a:lnTo>
                <a:lnTo>
                  <a:pt x="2448060" y="569116"/>
                </a:lnTo>
                <a:lnTo>
                  <a:pt x="2534358" y="569116"/>
                </a:lnTo>
                <a:lnTo>
                  <a:pt x="2534358" y="557908"/>
                </a:lnTo>
                <a:lnTo>
                  <a:pt x="2579050" y="557908"/>
                </a:lnTo>
                <a:lnTo>
                  <a:pt x="2579050" y="546502"/>
                </a:lnTo>
                <a:lnTo>
                  <a:pt x="2638557" y="546502"/>
                </a:lnTo>
                <a:lnTo>
                  <a:pt x="2638557" y="535096"/>
                </a:lnTo>
                <a:lnTo>
                  <a:pt x="2659421" y="535096"/>
                </a:lnTo>
                <a:lnTo>
                  <a:pt x="2659421" y="523590"/>
                </a:lnTo>
                <a:lnTo>
                  <a:pt x="2727694" y="523590"/>
                </a:lnTo>
                <a:lnTo>
                  <a:pt x="2727694" y="512085"/>
                </a:lnTo>
                <a:lnTo>
                  <a:pt x="2730780" y="512085"/>
                </a:lnTo>
                <a:lnTo>
                  <a:pt x="2730780" y="500481"/>
                </a:lnTo>
                <a:lnTo>
                  <a:pt x="2855597" y="500481"/>
                </a:lnTo>
                <a:lnTo>
                  <a:pt x="2855597" y="488777"/>
                </a:lnTo>
                <a:lnTo>
                  <a:pt x="2927079" y="488777"/>
                </a:lnTo>
                <a:lnTo>
                  <a:pt x="2927079" y="476875"/>
                </a:lnTo>
                <a:lnTo>
                  <a:pt x="3031155" y="476875"/>
                </a:lnTo>
                <a:lnTo>
                  <a:pt x="3031155" y="465072"/>
                </a:lnTo>
                <a:lnTo>
                  <a:pt x="3096588" y="465072"/>
                </a:lnTo>
                <a:lnTo>
                  <a:pt x="3096588" y="453170"/>
                </a:lnTo>
                <a:lnTo>
                  <a:pt x="3117452" y="453170"/>
                </a:lnTo>
                <a:lnTo>
                  <a:pt x="3117452" y="441169"/>
                </a:lnTo>
                <a:lnTo>
                  <a:pt x="3141280" y="441169"/>
                </a:lnTo>
                <a:lnTo>
                  <a:pt x="3141280" y="429068"/>
                </a:lnTo>
                <a:lnTo>
                  <a:pt x="3150169" y="429068"/>
                </a:lnTo>
                <a:lnTo>
                  <a:pt x="3150169" y="417067"/>
                </a:lnTo>
                <a:lnTo>
                  <a:pt x="3173997" y="417067"/>
                </a:lnTo>
                <a:lnTo>
                  <a:pt x="3173997" y="405066"/>
                </a:lnTo>
                <a:lnTo>
                  <a:pt x="3188811" y="405066"/>
                </a:lnTo>
                <a:lnTo>
                  <a:pt x="3188811" y="392866"/>
                </a:lnTo>
                <a:lnTo>
                  <a:pt x="3286961" y="392866"/>
                </a:lnTo>
                <a:lnTo>
                  <a:pt x="3286961" y="380667"/>
                </a:lnTo>
                <a:lnTo>
                  <a:pt x="3289924" y="380667"/>
                </a:lnTo>
                <a:lnTo>
                  <a:pt x="3289924" y="368467"/>
                </a:lnTo>
                <a:lnTo>
                  <a:pt x="3349431" y="368467"/>
                </a:lnTo>
                <a:lnTo>
                  <a:pt x="3349431" y="356069"/>
                </a:lnTo>
                <a:lnTo>
                  <a:pt x="3364370" y="356069"/>
                </a:lnTo>
                <a:lnTo>
                  <a:pt x="3364370" y="331273"/>
                </a:lnTo>
                <a:lnTo>
                  <a:pt x="3447581" y="331273"/>
                </a:lnTo>
                <a:lnTo>
                  <a:pt x="3447581" y="318776"/>
                </a:lnTo>
                <a:lnTo>
                  <a:pt x="3560669" y="318776"/>
                </a:lnTo>
                <a:lnTo>
                  <a:pt x="3560669" y="306081"/>
                </a:lnTo>
                <a:lnTo>
                  <a:pt x="3590422" y="306081"/>
                </a:lnTo>
                <a:lnTo>
                  <a:pt x="3590422" y="293385"/>
                </a:lnTo>
                <a:lnTo>
                  <a:pt x="3596348" y="293385"/>
                </a:lnTo>
                <a:lnTo>
                  <a:pt x="3596348" y="280591"/>
                </a:lnTo>
                <a:lnTo>
                  <a:pt x="3673757" y="280591"/>
                </a:lnTo>
                <a:lnTo>
                  <a:pt x="3673757" y="267697"/>
                </a:lnTo>
                <a:lnTo>
                  <a:pt x="3873019" y="267697"/>
                </a:lnTo>
                <a:lnTo>
                  <a:pt x="3873019" y="254108"/>
                </a:lnTo>
                <a:lnTo>
                  <a:pt x="3878945" y="254108"/>
                </a:lnTo>
                <a:lnTo>
                  <a:pt x="3878945" y="240421"/>
                </a:lnTo>
                <a:lnTo>
                  <a:pt x="3893884" y="240421"/>
                </a:lnTo>
                <a:lnTo>
                  <a:pt x="3893884" y="226635"/>
                </a:lnTo>
                <a:lnTo>
                  <a:pt x="3956230" y="226635"/>
                </a:lnTo>
                <a:lnTo>
                  <a:pt x="3956230" y="212352"/>
                </a:lnTo>
                <a:lnTo>
                  <a:pt x="4182406" y="212352"/>
                </a:lnTo>
                <a:lnTo>
                  <a:pt x="4182406" y="195293"/>
                </a:lnTo>
                <a:lnTo>
                  <a:pt x="4215123" y="195293"/>
                </a:lnTo>
                <a:lnTo>
                  <a:pt x="4215123" y="177638"/>
                </a:lnTo>
                <a:lnTo>
                  <a:pt x="4233024" y="177638"/>
                </a:lnTo>
                <a:lnTo>
                  <a:pt x="4233024" y="159686"/>
                </a:lnTo>
                <a:lnTo>
                  <a:pt x="4348952" y="159686"/>
                </a:lnTo>
                <a:lnTo>
                  <a:pt x="4348952" y="139948"/>
                </a:lnTo>
                <a:lnTo>
                  <a:pt x="4512534" y="139948"/>
                </a:lnTo>
                <a:lnTo>
                  <a:pt x="4512534" y="116144"/>
                </a:lnTo>
                <a:lnTo>
                  <a:pt x="4726735" y="116144"/>
                </a:lnTo>
                <a:lnTo>
                  <a:pt x="4726735" y="83810"/>
                </a:lnTo>
                <a:lnTo>
                  <a:pt x="4750563" y="83810"/>
                </a:lnTo>
                <a:lnTo>
                  <a:pt x="4750563" y="50187"/>
                </a:lnTo>
                <a:lnTo>
                  <a:pt x="4905256" y="50187"/>
                </a:lnTo>
                <a:lnTo>
                  <a:pt x="4905256" y="0"/>
                </a:lnTo>
              </a:path>
            </a:pathLst>
          </a:custGeom>
          <a:noFill/>
          <a:ln w="27893" cap="flat">
            <a:solidFill>
              <a:schemeClr val="accent6"/>
            </a:solidFill>
            <a:prstDash val="solid"/>
            <a:round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F5C8002-4F86-5626-2087-46D76C40C984}"/>
              </a:ext>
            </a:extLst>
          </p:cNvPr>
          <p:cNvSpPr txBox="1"/>
          <p:nvPr/>
        </p:nvSpPr>
        <p:spPr>
          <a:xfrm rot="16200000">
            <a:off x="-706485" y="2765912"/>
            <a:ext cx="37609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/>
              <a:t>Kumulatives Risiko für </a:t>
            </a:r>
            <a:r>
              <a:rPr lang="de-DE" sz="1100" b="1" dirty="0" err="1"/>
              <a:t>Melanomspezifischen</a:t>
            </a:r>
            <a:r>
              <a:rPr lang="de-DE" sz="1100" b="1" dirty="0"/>
              <a:t> Tod (%)</a:t>
            </a:r>
          </a:p>
        </p:txBody>
      </p:sp>
      <p:sp>
        <p:nvSpPr>
          <p:cNvPr id="12" name="Textfeld 13">
            <a:extLst>
              <a:ext uri="{FF2B5EF4-FFF2-40B4-BE49-F238E27FC236}">
                <a16:creationId xmlns:a16="http://schemas.microsoft.com/office/drawing/2014/main" id="{3BC1E5F6-9749-2D7D-05C1-F71ED3965CF0}"/>
              </a:ext>
            </a:extLst>
          </p:cNvPr>
          <p:cNvSpPr txBox="1"/>
          <p:nvPr/>
        </p:nvSpPr>
        <p:spPr>
          <a:xfrm>
            <a:off x="8532883" y="6469063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227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2B398-0634-40DB-53A0-C2B996DD0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782001-236E-A02A-5D0D-4C7C4A0A8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zi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384208-A6B4-1C2B-0785-F5CC00C18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7200980-7EB0-2859-0EBC-72B776149E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 </a:t>
            </a:r>
            <a:r>
              <a:rPr lang="de-DE" b="1" dirty="0"/>
              <a:t>MSS</a:t>
            </a:r>
            <a:r>
              <a:rPr lang="de-DE" dirty="0"/>
              <a:t> </a:t>
            </a:r>
            <a:r>
              <a:rPr lang="de-DE" dirty="0" err="1"/>
              <a:t>Melanomspezifisches</a:t>
            </a:r>
            <a:r>
              <a:rPr lang="de-DE"/>
              <a:t> Überleben. </a:t>
            </a:r>
            <a:r>
              <a:rPr lang="de-DE" b="1" dirty="0"/>
              <a:t>PD1</a:t>
            </a:r>
            <a:r>
              <a:rPr lang="de-DE" dirty="0"/>
              <a:t> </a:t>
            </a:r>
            <a:r>
              <a:rPr lang="en-US" i="1" dirty="0"/>
              <a:t>Programmed Cell Death Protein 1</a:t>
            </a:r>
            <a:r>
              <a:rPr lang="de-DE" dirty="0"/>
              <a:t>. </a:t>
            </a:r>
            <a:r>
              <a:rPr lang="de-DE" b="1" dirty="0"/>
              <a:t>RFS</a:t>
            </a:r>
            <a:r>
              <a:rPr lang="de-DE" dirty="0"/>
              <a:t> </a:t>
            </a:r>
            <a:r>
              <a:rPr lang="de-DE" dirty="0" err="1"/>
              <a:t>Rezidivfreies</a:t>
            </a:r>
            <a:r>
              <a:rPr lang="de-DE" dirty="0"/>
              <a:t> Überleben. </a:t>
            </a:r>
            <a:r>
              <a:rPr lang="de-DE" b="1" dirty="0"/>
              <a:t>TT</a:t>
            </a:r>
            <a:r>
              <a:rPr lang="de-DE" dirty="0"/>
              <a:t> Zielgerichtete Therapie.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EE90D26-8505-CFF0-EE2B-041488B14DF6}"/>
              </a:ext>
            </a:extLst>
          </p:cNvPr>
          <p:cNvSpPr txBox="1"/>
          <p:nvPr/>
        </p:nvSpPr>
        <p:spPr>
          <a:xfrm>
            <a:off x="604837" y="1458870"/>
            <a:ext cx="9148763" cy="3207514"/>
          </a:xfrm>
          <a:prstGeom prst="roundRect">
            <a:avLst>
              <a:gd name="adj" fmla="val 10508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lvl="1" algn="ctr">
              <a:spcAft>
                <a:spcPts val="600"/>
              </a:spcAft>
              <a:buClr>
                <a:schemeClr val="accent2"/>
              </a:buClr>
            </a:pPr>
            <a:r>
              <a:rPr lang="de-DE" sz="2400" b="1" dirty="0">
                <a:solidFill>
                  <a:schemeClr val="accent2"/>
                </a:solidFill>
              </a:rPr>
              <a:t>RFS</a:t>
            </a:r>
          </a:p>
          <a:p>
            <a:pPr marL="900000" lvl="4">
              <a:spcAft>
                <a:spcPts val="1800"/>
              </a:spcAft>
              <a:buClr>
                <a:schemeClr val="accent2"/>
              </a:buClr>
            </a:pPr>
            <a:r>
              <a:rPr lang="de-DE" dirty="0">
                <a:solidFill>
                  <a:schemeClr val="tx2"/>
                </a:solidFill>
              </a:rPr>
              <a:t>Nach Resektion von makroskopischen Lymphknotenmetastasen war die Rezidivrate in der TT-Gruppe im Vergleich zum PD1-Arm geringer</a:t>
            </a:r>
          </a:p>
          <a:p>
            <a:pPr marL="900000" lvl="6">
              <a:spcAft>
                <a:spcPts val="1800"/>
              </a:spcAft>
              <a:buClr>
                <a:schemeClr val="accent2"/>
              </a:buClr>
            </a:pPr>
            <a:r>
              <a:rPr lang="de-DE" dirty="0">
                <a:solidFill>
                  <a:schemeClr val="tx2"/>
                </a:solidFill>
              </a:rPr>
              <a:t>Eine frühzeitige Beendigung der adjuvanten BRAF/MEK-Inhibition innerhalb von 6 Monaten scheint mit einem erhöhten Rezidivrisiko assoziiert zu sein</a:t>
            </a:r>
          </a:p>
          <a:p>
            <a:pPr lvl="1" algn="ctr">
              <a:buClr>
                <a:schemeClr val="accent2"/>
              </a:buClr>
            </a:pPr>
            <a:r>
              <a:rPr lang="en-GB" sz="2400" b="1" dirty="0">
                <a:solidFill>
                  <a:schemeClr val="accent2"/>
                </a:solidFill>
              </a:rPr>
              <a:t>MSS</a:t>
            </a:r>
          </a:p>
          <a:p>
            <a:pPr lvl="2">
              <a:buClr>
                <a:schemeClr val="accent2"/>
              </a:buClr>
            </a:pPr>
            <a:r>
              <a:rPr lang="en-GB" dirty="0">
                <a:solidFill>
                  <a:schemeClr val="accent1"/>
                </a:solidFill>
              </a:rPr>
              <a:t>Das </a:t>
            </a:r>
            <a:r>
              <a:rPr lang="en-GB" dirty="0" err="1">
                <a:solidFill>
                  <a:schemeClr val="accent1"/>
                </a:solidFill>
              </a:rPr>
              <a:t>kumulative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Risiko</a:t>
            </a:r>
            <a:r>
              <a:rPr lang="en-GB" dirty="0">
                <a:solidFill>
                  <a:schemeClr val="accent1"/>
                </a:solidFill>
              </a:rPr>
              <a:t>, am </a:t>
            </a:r>
            <a:r>
              <a:rPr lang="en-GB" dirty="0" err="1">
                <a:solidFill>
                  <a:schemeClr val="accent1"/>
                </a:solidFill>
              </a:rPr>
              <a:t>Melanom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zu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versterben</a:t>
            </a:r>
            <a:r>
              <a:rPr lang="en-GB" dirty="0">
                <a:solidFill>
                  <a:schemeClr val="accent1"/>
                </a:solidFill>
              </a:rPr>
              <a:t>, war </a:t>
            </a:r>
            <a:r>
              <a:rPr lang="en-GB" dirty="0" err="1">
                <a:solidFill>
                  <a:schemeClr val="accent1"/>
                </a:solidFill>
              </a:rPr>
              <a:t>unter</a:t>
            </a:r>
            <a:r>
              <a:rPr lang="en-GB" dirty="0">
                <a:solidFill>
                  <a:schemeClr val="accent1"/>
                </a:solidFill>
              </a:rPr>
              <a:t> Dabrafenib und Trametinib </a:t>
            </a:r>
            <a:r>
              <a:rPr lang="en-GB" dirty="0" err="1">
                <a:solidFill>
                  <a:schemeClr val="accent1"/>
                </a:solidFill>
              </a:rPr>
              <a:t>deutlich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geringer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als</a:t>
            </a:r>
            <a:r>
              <a:rPr lang="en-GB" dirty="0">
                <a:solidFill>
                  <a:schemeClr val="accent1"/>
                </a:solidFill>
              </a:rPr>
              <a:t> </a:t>
            </a:r>
            <a:r>
              <a:rPr lang="en-GB" dirty="0" err="1">
                <a:solidFill>
                  <a:schemeClr val="accent1"/>
                </a:solidFill>
              </a:rPr>
              <a:t>unter</a:t>
            </a:r>
            <a:r>
              <a:rPr lang="en-GB" dirty="0">
                <a:solidFill>
                  <a:schemeClr val="accent1"/>
                </a:solidFill>
              </a:rPr>
              <a:t> Anti-PD1-Therapie</a:t>
            </a:r>
          </a:p>
        </p:txBody>
      </p:sp>
      <p:pic>
        <p:nvPicPr>
          <p:cNvPr id="15" name="Grafik 14" descr="Ein Bild, das Kreis, Uhr, Symbol, Grafiken enthält.&#10;&#10;KI-generierte Inhalte können fehlerhaft sein.">
            <a:extLst>
              <a:ext uri="{FF2B5EF4-FFF2-40B4-BE49-F238E27FC236}">
                <a16:creationId xmlns:a16="http://schemas.microsoft.com/office/drawing/2014/main" id="{D9D4EBAF-88E2-1567-BD58-3C72EA42FE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64" y="2805185"/>
            <a:ext cx="666753" cy="666753"/>
          </a:xfrm>
          <a:prstGeom prst="rect">
            <a:avLst/>
          </a:prstGeom>
        </p:spPr>
      </p:pic>
      <p:pic>
        <p:nvPicPr>
          <p:cNvPr id="21" name="Grafik 20" descr="Ein Bild, das Kreis, Grafiken, Cartoon, Design enthält.&#10;&#10;KI-generierte Inhalte können fehlerhaft sein.">
            <a:extLst>
              <a:ext uri="{FF2B5EF4-FFF2-40B4-BE49-F238E27FC236}">
                <a16:creationId xmlns:a16="http://schemas.microsoft.com/office/drawing/2014/main" id="{21BC9337-2196-9796-6A23-2DDE604192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65" y="2018514"/>
            <a:ext cx="666753" cy="666753"/>
          </a:xfrm>
          <a:prstGeom prst="rect">
            <a:avLst/>
          </a:prstGeom>
        </p:spPr>
      </p:pic>
      <p:pic>
        <p:nvPicPr>
          <p:cNvPr id="23" name="Grafik 22" descr="Ein Bild, das Grafiken, Kreis, orange enthält.&#10;&#10;KI-generierte Inhalte können fehlerhaft sein.">
            <a:extLst>
              <a:ext uri="{FF2B5EF4-FFF2-40B4-BE49-F238E27FC236}">
                <a16:creationId xmlns:a16="http://schemas.microsoft.com/office/drawing/2014/main" id="{57DBBA0D-58F6-6CF5-F88A-8427AF1ACC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64" y="3907934"/>
            <a:ext cx="666753" cy="666753"/>
          </a:xfrm>
          <a:prstGeom prst="rect">
            <a:avLst/>
          </a:prstGeom>
        </p:spPr>
      </p:pic>
      <p:sp>
        <p:nvSpPr>
          <p:cNvPr id="3" name="Textfeld 13">
            <a:extLst>
              <a:ext uri="{FF2B5EF4-FFF2-40B4-BE49-F238E27FC236}">
                <a16:creationId xmlns:a16="http://schemas.microsoft.com/office/drawing/2014/main" id="{DEFB4AC5-8BB5-51DC-7D3F-EC85EC1FCF27}"/>
              </a:ext>
            </a:extLst>
          </p:cNvPr>
          <p:cNvSpPr txBox="1"/>
          <p:nvPr/>
        </p:nvSpPr>
        <p:spPr>
          <a:xfrm>
            <a:off x="8532883" y="6469063"/>
            <a:ext cx="2835133" cy="2144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dde GC et al. </a:t>
            </a:r>
            <a:r>
              <a:rPr lang="en-US" sz="800" i="1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 Clin Oncol</a:t>
            </a:r>
            <a:r>
              <a:rPr lang="en-US" sz="800" kern="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2025;43(25):2793-2805</a:t>
            </a:r>
            <a:endParaRPr lang="de-DE" sz="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3096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76F9B20-1BBC-C442-B890-D454BDE65356}" vid="{AC1AA6F3-C969-A54D-9C38-3DDAFD142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ovartis RM">
    <a:dk1>
      <a:srgbClr val="000000"/>
    </a:dk1>
    <a:lt1>
      <a:srgbClr val="FFFFFF"/>
    </a:lt1>
    <a:dk2>
      <a:srgbClr val="002068"/>
    </a:dk2>
    <a:lt2>
      <a:srgbClr val="FFFFFF"/>
    </a:lt2>
    <a:accent1>
      <a:srgbClr val="002068"/>
    </a:accent1>
    <a:accent2>
      <a:srgbClr val="FF585D"/>
    </a:accent2>
    <a:accent3>
      <a:srgbClr val="FFC100"/>
    </a:accent3>
    <a:accent4>
      <a:srgbClr val="A7A8AA"/>
    </a:accent4>
    <a:accent5>
      <a:srgbClr val="D0D0D0"/>
    </a:accent5>
    <a:accent6>
      <a:srgbClr val="0460A9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Novartis RM">
    <a:dk1>
      <a:srgbClr val="000000"/>
    </a:dk1>
    <a:lt1>
      <a:srgbClr val="FFFFFF"/>
    </a:lt1>
    <a:dk2>
      <a:srgbClr val="002068"/>
    </a:dk2>
    <a:lt2>
      <a:srgbClr val="FFFFFF"/>
    </a:lt2>
    <a:accent1>
      <a:srgbClr val="002068"/>
    </a:accent1>
    <a:accent2>
      <a:srgbClr val="FF585D"/>
    </a:accent2>
    <a:accent3>
      <a:srgbClr val="FFC100"/>
    </a:accent3>
    <a:accent4>
      <a:srgbClr val="A7A8AA"/>
    </a:accent4>
    <a:accent5>
      <a:srgbClr val="D0D0D0"/>
    </a:accent5>
    <a:accent6>
      <a:srgbClr val="0460A9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Novartis RM">
    <a:dk1>
      <a:srgbClr val="000000"/>
    </a:dk1>
    <a:lt1>
      <a:srgbClr val="FFFFFF"/>
    </a:lt1>
    <a:dk2>
      <a:srgbClr val="002068"/>
    </a:dk2>
    <a:lt2>
      <a:srgbClr val="FFFFFF"/>
    </a:lt2>
    <a:accent1>
      <a:srgbClr val="002068"/>
    </a:accent1>
    <a:accent2>
      <a:srgbClr val="FF585D"/>
    </a:accent2>
    <a:accent3>
      <a:srgbClr val="FFC100"/>
    </a:accent3>
    <a:accent4>
      <a:srgbClr val="A7A8AA"/>
    </a:accent4>
    <a:accent5>
      <a:srgbClr val="D0D0D0"/>
    </a:accent5>
    <a:accent6>
      <a:srgbClr val="0460A9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a2d18e2-57c2-4645-9977-553537026fde">
      <Terms xmlns="http://schemas.microsoft.com/office/infopath/2007/PartnerControls"/>
    </lcf76f155ced4ddcb4097134ff3c332f>
    <TaxCatchAll xmlns="8765a40b-f084-498f-b24f-37d590220d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88DFA984CC8D4D970F27E3B7A19A22" ma:contentTypeVersion="18" ma:contentTypeDescription="Create a new document." ma:contentTypeScope="" ma:versionID="a2a3a8694f0d09149d21d46654eb069d">
  <xsd:schema xmlns:xsd="http://www.w3.org/2001/XMLSchema" xmlns:xs="http://www.w3.org/2001/XMLSchema" xmlns:p="http://schemas.microsoft.com/office/2006/metadata/properties" xmlns:ns1="http://schemas.microsoft.com/sharepoint/v3" xmlns:ns2="8765a40b-f084-498f-b24f-37d590220da5" xmlns:ns3="9a2d18e2-57c2-4645-9977-553537026fde" targetNamespace="http://schemas.microsoft.com/office/2006/metadata/properties" ma:root="true" ma:fieldsID="2e1e66837e18f93bad8858d0164491fd" ns1:_="" ns2:_="" ns3:_="">
    <xsd:import namespace="http://schemas.microsoft.com/sharepoint/v3"/>
    <xsd:import namespace="8765a40b-f084-498f-b24f-37d590220da5"/>
    <xsd:import namespace="9a2d18e2-57c2-4645-9977-553537026fd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3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65a40b-f084-498f-b24f-37d590220da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0cf50e0-7893-487b-961d-a899d54f2a9e}" ma:internalName="TaxCatchAll" ma:showField="CatchAllData" ma:web="8765a40b-f084-498f-b24f-37d590220d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d18e2-57c2-4645-9977-553537026f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37bc47b-3997-4ccb-824d-08e9c3bde3a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D59ACC-9A8F-4C47-9F40-A86A6538FAAC}">
  <ds:schemaRefs>
    <ds:schemaRef ds:uri="9a2d18e2-57c2-4645-9977-553537026fd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8765a40b-f084-498f-b24f-37d590220da5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A040492B-BE09-43DA-8432-018744B117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40E8396-9D7F-401D-9292-5212D622EB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765a40b-f084-498f-b24f-37d590220da5"/>
    <ds:schemaRef ds:uri="9a2d18e2-57c2-4645-9977-553537026f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3c9bec58-8084-492e-8360-0e1cfe36408c}" enabled="1" method="Standard" siteId="{f35a6974-607f-47d4-82d7-ff31d7dc53a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2</Words>
  <Application>Microsoft Office PowerPoint</Application>
  <PresentationFormat>Breitbild</PresentationFormat>
  <Paragraphs>202</Paragraphs>
  <Slides>6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Calibri</vt:lpstr>
      <vt:lpstr>Ping LCG Medium</vt:lpstr>
      <vt:lpstr>Novartis | Reimagining Medicine</vt:lpstr>
      <vt:lpstr>think-cell Folie</vt:lpstr>
      <vt:lpstr>Long-term follow-up of real-world adjuvant anti-PD1 checkpoint inhibition and targeted therapy in stage III melanoma patients</vt:lpstr>
      <vt:lpstr>Hintergrund und Studienziel</vt:lpstr>
      <vt:lpstr>RFS bei BRAF-positiven Patient*innen mit resezierten Lymphknoten-Makrometastasen vor Therapiebeginn</vt:lpstr>
      <vt:lpstr>RFS bei Abbruch der adjuvanten Behandlung</vt:lpstr>
      <vt:lpstr>MSS: Kumulatives Risiko für melanomspezifischen Tod</vt:lpstr>
      <vt:lpstr>Faz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efing Science Snippet: Lodde et al 4 Jahresdaten</dc:title>
  <dc:creator>Tagari, Eleni</dc:creator>
  <cp:lastModifiedBy>Tagari, Eleni</cp:lastModifiedBy>
  <cp:revision>31</cp:revision>
  <dcterms:created xsi:type="dcterms:W3CDTF">2024-10-22T16:53:22Z</dcterms:created>
  <dcterms:modified xsi:type="dcterms:W3CDTF">2025-09-05T08:5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09-09T16:18:40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d58f9b7f-cfa6-497f-99fd-0229cc3642c4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  <property fmtid="{D5CDD505-2E9C-101B-9397-08002B2CF9AE}" pid="18" name="ContentTypeId">
    <vt:lpwstr>0x0101004B88DFA984CC8D4D970F27E3B7A19A22</vt:lpwstr>
  </property>
  <property fmtid="{D5CDD505-2E9C-101B-9397-08002B2CF9AE}" pid="19" name="MediaServiceImageTags">
    <vt:lpwstr/>
  </property>
</Properties>
</file>